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notesSlides/notesSlide1.xml" ContentType="application/vnd.openxmlformats-officedocument.presentationml.notesSlide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notesSlides/notesSlide3.xml" ContentType="application/vnd.openxmlformats-officedocument.presentationml.notesSlide+xml"/>
  <Override PartName="/ppt/charts/chart18.xml" ContentType="application/vnd.openxmlformats-officedocument.drawingml.chart+xml"/>
  <Override PartName="/ppt/theme/themeOverride1.xml" ContentType="application/vnd.openxmlformats-officedocument.themeOverride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  <p:sldMasterId id="2147483691" r:id="rId5"/>
    <p:sldMasterId id="2147483719" r:id="rId6"/>
  </p:sldMasterIdLst>
  <p:notesMasterIdLst>
    <p:notesMasterId r:id="rId20"/>
  </p:notesMasterIdLst>
  <p:handoutMasterIdLst>
    <p:handoutMasterId r:id="rId21"/>
  </p:handoutMasterIdLst>
  <p:sldIdLst>
    <p:sldId id="368" r:id="rId7"/>
    <p:sldId id="419" r:id="rId8"/>
    <p:sldId id="417" r:id="rId9"/>
    <p:sldId id="408" r:id="rId10"/>
    <p:sldId id="420" r:id="rId11"/>
    <p:sldId id="411" r:id="rId12"/>
    <p:sldId id="423" r:id="rId13"/>
    <p:sldId id="425" r:id="rId14"/>
    <p:sldId id="426" r:id="rId15"/>
    <p:sldId id="432" r:id="rId16"/>
    <p:sldId id="431" r:id="rId17"/>
    <p:sldId id="430" r:id="rId18"/>
    <p:sldId id="433" r:id="rId19"/>
  </p:sldIdLst>
  <p:sldSz cx="10369550" cy="7164388"/>
  <p:notesSz cx="6797675" cy="9874250"/>
  <p:defaultTextStyle>
    <a:defPPr>
      <a:defRPr lang="ru-RU"/>
    </a:defPPr>
    <a:lvl1pPr marL="0" algn="l" defTabSz="97923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89614" algn="l" defTabSz="97923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79231" algn="l" defTabSz="97923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468843" algn="l" defTabSz="97923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958458" algn="l" defTabSz="97923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448073" algn="l" defTabSz="97923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937686" algn="l" defTabSz="97923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427298" algn="l" defTabSz="97923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916913" algn="l" defTabSz="97923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3"/>
    <a:srgbClr val="F15151"/>
    <a:srgbClr val="4F81BD"/>
    <a:srgbClr val="5F497A"/>
    <a:srgbClr val="62499B"/>
    <a:srgbClr val="4E6228"/>
    <a:srgbClr val="321547"/>
    <a:srgbClr val="FF9900"/>
    <a:srgbClr val="FFDC97"/>
    <a:srgbClr val="99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9DCAF9ED-07DC-4A11-8D7F-57B35C25682E}" styleName="Средний стиль 1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690" autoAdjust="0"/>
    <p:restoredTop sz="98610" autoAdjust="0"/>
  </p:normalViewPr>
  <p:slideViewPr>
    <p:cSldViewPr>
      <p:cViewPr varScale="1">
        <p:scale>
          <a:sx n="111" d="100"/>
          <a:sy n="111" d="100"/>
        </p:scale>
        <p:origin x="-1500" y="-72"/>
      </p:cViewPr>
      <p:guideLst>
        <p:guide orient="horz" pos="2256"/>
        <p:guide pos="326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LitvinovaMV\AppData\Local\Microsoft\Windows\Temporary%20Internet%20Files\Content.Outlook\VUBXHDFD\&#1050;&#1085;&#1080;&#1075;&#1072;1%20(2).xlsx" TargetMode="Externa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oleObject" Target="file:///\\Fs\&#1044;&#1052;&#1058;&#1055;\2%20&#1054;&#1090;&#1095;&#1077;&#1090;&#1099;%20&#1044;&#1052;&#1058;&#1055;%20&#1076;&#1083;&#1103;%20&#1043;&#1044;%20&#1080;%20&#1047;&#1043;&#1044;%20&#1087;&#1086;%20&#1082;&#1086;&#1084;&#1084;&#1077;&#1088;&#1094;&#1080;&#1080;\15.%20&#1044;&#1054;&#1051;&#1048;\13%2008%2015%20&#1044;&#1086;&#1083;&#1080;%202011%20&#1080;%207%20&#1084;&#1077;&#1089;.2013.xlsx" TargetMode="External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oleObject" Target="file:///\\Fs\&#1044;&#1052;&#1058;&#1055;\2%20&#1054;&#1090;&#1095;&#1077;&#1090;&#1099;%20&#1044;&#1052;&#1058;&#1055;%20&#1076;&#1083;&#1103;%20&#1043;&#1044;%20&#1080;%20&#1047;&#1043;&#1044;%20&#1087;&#1086;%20&#1082;&#1086;&#1084;&#1084;&#1077;&#1088;&#1094;&#1080;&#1080;\15.%20&#1044;&#1054;&#1051;&#1048;\13%2008%2015%20&#1044;&#1086;&#1083;&#1080;%202011%20&#1080;%207%20&#1084;&#1077;&#1089;.2013.xlsx" TargetMode="External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oleObject" Target="file:///\\Fs\&#1044;&#1052;&#1058;&#1055;\2%20&#1054;&#1090;&#1095;&#1077;&#1090;&#1099;%20&#1044;&#1052;&#1058;&#1055;%20&#1076;&#1083;&#1103;%20&#1043;&#1044;%20&#1080;%20&#1047;&#1043;&#1044;%20&#1087;&#1086;%20&#1082;&#1086;&#1084;&#1084;&#1077;&#1088;&#1094;&#1080;&#1080;\15.%20&#1044;&#1054;&#1051;&#1048;\13%2008%2015%20&#1044;&#1086;&#1083;&#1080;%202011%20&#1080;%207%20&#1084;&#1077;&#1089;.2013.xlsx" TargetMode="External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LitvinovaMV\Desktop\&#1087;&#1088;&#1077;&#1079;&#1077;&#1085;&#1090;&#1072;&#1094;&#1080;&#1103;%20&#1086;%20&#1060;&#1043;&#1050;\&#1076;&#1083;&#1103;%20&#1087;&#1088;&#1077;&#1079;&#1077;&#1085;&#1090;&#1072;&#1094;&#1080;&#1080;.xlsx" TargetMode="External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LitvinovaMV\Desktop\&#1087;&#1088;&#1077;&#1079;&#1077;&#1085;&#1090;&#1072;&#1094;&#1080;&#1103;%20&#1086;%20&#1060;&#1043;&#1050;\&#1076;&#1083;&#1103;%20&#1087;&#1088;&#1077;&#1079;&#1077;&#1085;&#1090;&#1072;&#1094;&#1080;&#1080;.xlsx" TargetMode="External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1.xml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\\Fs\&#1044;&#1052;&#1058;&#1055;\2%20&#1054;&#1090;&#1095;&#1077;&#1090;&#1099;%20&#1044;&#1052;&#1058;&#1055;%20&#1076;&#1083;&#1103;%20&#1043;&#1044;%20&#1080;%20&#1047;&#1043;&#1044;%20&#1087;&#1086;%20&#1082;&#1086;&#1084;&#1084;&#1077;&#1088;&#1094;&#1080;&#1080;\15.%20&#1044;&#1054;&#1051;&#1048;\13%2008%2015%20&#1044;&#1086;&#1083;&#1080;%202011%20&#1080;%207%20&#1084;&#1077;&#1089;.2013.xlsx" TargetMode="External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\\Fs\&#1044;&#1052;&#1058;&#1055;\2%20&#1054;&#1090;&#1095;&#1077;&#1090;&#1099;%20&#1044;&#1052;&#1058;&#1055;%20&#1076;&#1083;&#1103;%20&#1043;&#1044;%20&#1080;%20&#1047;&#1043;&#1044;%20&#1087;&#1086;%20&#1082;&#1086;&#1084;&#1084;&#1077;&#1088;&#1094;&#1080;&#1080;\15.%20&#1044;&#1054;&#1051;&#1048;\13%2008%2015%20&#1044;&#1086;&#1083;&#1080;%202011%20&#1080;%207%20&#1084;&#1077;&#1089;.2013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\\Fs\&#1044;&#1052;&#1058;&#1055;\2%20&#1054;&#1090;&#1095;&#1077;&#1090;&#1099;%20&#1044;&#1052;&#1058;&#1055;%20&#1076;&#1083;&#1103;%20&#1043;&#1044;%20&#1080;%20&#1047;&#1043;&#1044;%20&#1087;&#1086;%20&#1082;&#1086;&#1084;&#1084;&#1077;&#1088;&#1094;&#1080;&#1080;\15.%20&#1044;&#1054;&#1051;&#1048;\13%2008%2015%20&#1044;&#1086;&#1083;&#1080;%202011%20&#1080;%207%20&#1084;&#1077;&#1089;.2013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LitvinovaMV\AppData\Local\Microsoft\Windows\Temporary%20Internet%20Files\Content.Outlook\VUBXHDFD\&#1050;&#1085;&#1080;&#1075;&#1072;2%20(3)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LitvinovaMV\AppData\Local\Microsoft\Windows\Temporary%20Internet%20Files\Content.Outlook\VUBXHDFD\&#1050;&#1085;&#1080;&#1075;&#1072;2%20(3).xlsx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LitvinovaMV\Desktop\&#1087;&#1088;&#1077;&#1079;&#1077;&#1085;&#1090;&#1072;&#1094;&#1080;&#1103;%20&#1086;%20&#1060;&#1043;&#1050;\&#1087;&#1072;&#1088;&#1082;%20&#1082;&#1086;&#1085;&#1082;&#1091;&#1088;&#1077;&#1085;&#1090;&#1086;&#1074;.xlsx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LitvinovaMV\Desktop\&#1087;&#1088;&#1077;&#1079;&#1077;&#1085;&#1090;&#1072;&#1094;&#1080;&#1103;%20&#1086;%20&#1060;&#1043;&#1050;\&#1087;&#1072;&#1088;&#1082;%20&#1082;&#1086;&#1085;&#1082;&#1091;&#1088;&#1077;&#1085;&#1090;&#1086;&#1074;.xlsx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3434776902887138"/>
          <c:y val="0.19675925925925927"/>
          <c:w val="0.44444444444444442"/>
          <c:h val="0.7407407407407407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4">
                  <a:lumMod val="75000"/>
                </a:schemeClr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1"/>
            <c:bubble3D val="0"/>
            <c:spPr>
              <a:gradFill rotWithShape="1">
                <a:gsLst>
                  <a:gs pos="0">
                    <a:schemeClr val="accent1">
                      <a:tint val="100000"/>
                      <a:shade val="100000"/>
                      <a:satMod val="130000"/>
                    </a:schemeClr>
                  </a:gs>
                  <a:gs pos="100000">
                    <a:schemeClr val="accent1">
                      <a:tint val="50000"/>
                      <a:shade val="100000"/>
                      <a:satMod val="350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2"/>
            <c:bubble3D val="0"/>
            <c:spPr>
              <a:gradFill rotWithShape="1">
                <a:gsLst>
                  <a:gs pos="0">
                    <a:schemeClr val="accent6">
                      <a:tint val="100000"/>
                      <a:shade val="100000"/>
                      <a:satMod val="130000"/>
                    </a:schemeClr>
                  </a:gs>
                  <a:gs pos="100000">
                    <a:schemeClr val="accent6">
                      <a:tint val="50000"/>
                      <a:shade val="100000"/>
                      <a:satMod val="350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3"/>
            <c:bubble3D val="0"/>
            <c:spPr>
              <a:solidFill>
                <a:srgbClr val="FF9900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4"/>
            <c:bubble3D val="0"/>
            <c:spPr>
              <a:solidFill>
                <a:srgbClr val="7030A0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5"/>
            <c:bubble3D val="0"/>
            <c:spPr>
              <a:solidFill>
                <a:srgbClr val="00B0F0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6"/>
            <c:bubble3D val="0"/>
            <c:spPr>
              <a:solidFill>
                <a:schemeClr val="bg1">
                  <a:lumMod val="75000"/>
                </a:schemeClr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Lbls>
            <c:dLbl>
              <c:idx val="4"/>
              <c:spPr/>
              <c:txPr>
                <a:bodyPr/>
                <a:lstStyle/>
                <a:p>
                  <a:pPr>
                    <a:defRPr sz="1050" b="1">
                      <a:solidFill>
                        <a:schemeClr val="tx1"/>
                      </a:solidFill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5"/>
              <c:layout>
                <c:manualLayout>
                  <c:x val="8.2096456692913392E-3"/>
                  <c:y val="-7.0986439195100609E-3"/>
                </c:manualLayout>
              </c:layout>
              <c:spPr/>
              <c:txPr>
                <a:bodyPr/>
                <a:lstStyle/>
                <a:p>
                  <a:pPr>
                    <a:defRPr sz="1050" b="1">
                      <a:solidFill>
                        <a:schemeClr val="tx1"/>
                      </a:solidFill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6"/>
              <c:spPr/>
              <c:txPr>
                <a:bodyPr/>
                <a:lstStyle/>
                <a:p>
                  <a:pPr>
                    <a:defRPr sz="1050" b="1">
                      <a:solidFill>
                        <a:schemeClr val="tx1"/>
                      </a:solidFill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</c:dLbl>
            <c:txPr>
              <a:bodyPr/>
              <a:lstStyle/>
              <a:p>
                <a:pPr>
                  <a:defRPr sz="1050"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</c:dLbls>
          <c:cat>
            <c:strRef>
              <c:f>Лист1!$A$7:$A$13</c:f>
              <c:strCache>
                <c:ptCount val="7"/>
                <c:pt idx="0">
                  <c:v>Каменный уголь</c:v>
                </c:pt>
                <c:pt idx="1">
                  <c:v>Минерально-строительные</c:v>
                </c:pt>
                <c:pt idx="2">
                  <c:v>Руда железная</c:v>
                </c:pt>
                <c:pt idx="3">
                  <c:v>Черные металлы</c:v>
                </c:pt>
                <c:pt idx="4">
                  <c:v>Нефтяные грузы</c:v>
                </c:pt>
                <c:pt idx="5">
                  <c:v>Лесные грузы</c:v>
                </c:pt>
                <c:pt idx="6">
                  <c:v>Прочие грузы</c:v>
                </c:pt>
              </c:strCache>
            </c:strRef>
          </c:cat>
          <c:val>
            <c:numRef>
              <c:f>Лист1!$B$7:$B$13</c:f>
              <c:numCache>
                <c:formatCode>General</c:formatCode>
                <c:ptCount val="7"/>
                <c:pt idx="0">
                  <c:v>494995</c:v>
                </c:pt>
                <c:pt idx="1">
                  <c:v>368652</c:v>
                </c:pt>
                <c:pt idx="2">
                  <c:v>90549</c:v>
                </c:pt>
                <c:pt idx="3">
                  <c:v>60998</c:v>
                </c:pt>
                <c:pt idx="4">
                  <c:v>29737</c:v>
                </c:pt>
                <c:pt idx="5">
                  <c:v>27454</c:v>
                </c:pt>
                <c:pt idx="6">
                  <c:v>15390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0758464566929138"/>
          <c:y val="0.19351487314085739"/>
          <c:w val="0.34241535433070869"/>
          <c:h val="0.75648877223680377"/>
        </c:manualLayout>
      </c:layout>
      <c:overlay val="0"/>
      <c:txPr>
        <a:bodyPr/>
        <a:lstStyle/>
        <a:p>
          <a:pPr>
            <a:defRPr b="1"/>
          </a:pPr>
          <a:endParaRPr lang="ru-RU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</c:title>
    <c:autoTitleDeleted val="0"/>
    <c:view3D>
      <c:rotX val="30"/>
      <c:rotY val="28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"/>
          <c:y val="0.13251164807701396"/>
          <c:w val="1"/>
          <c:h val="0.72845131442922884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</c:strCache>
            </c:strRef>
          </c:tx>
          <c:spPr>
            <a:scene3d>
              <a:camera prst="orthographicFront"/>
              <a:lightRig rig="threePt" dir="t"/>
            </a:scene3d>
            <a:sp3d>
              <a:bevelT/>
            </a:sp3d>
          </c:spPr>
          <c:explosion val="26"/>
          <c:dPt>
            <c:idx val="0"/>
            <c:bubble3D val="0"/>
            <c:spPr>
              <a:gradFill rotWithShape="1">
                <a:gsLst>
                  <a:gs pos="0">
                    <a:schemeClr val="accent4">
                      <a:tint val="100000"/>
                      <a:shade val="100000"/>
                      <a:satMod val="130000"/>
                    </a:schemeClr>
                  </a:gs>
                  <a:gs pos="100000">
                    <a:schemeClr val="accent4">
                      <a:tint val="50000"/>
                      <a:shade val="100000"/>
                      <a:satMod val="350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1"/>
            <c:bubble3D val="0"/>
            <c:spPr>
              <a:solidFill>
                <a:srgbClr val="C00000"/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Pt>
            <c:idx val="2"/>
            <c:bubble3D val="0"/>
            <c:spPr>
              <a:pattFill prst="dkUpDiag">
                <a:fgClr>
                  <a:srgbClr val="FF0000"/>
                </a:fgClr>
                <a:bgClr>
                  <a:schemeClr val="bg1"/>
                </a:bgClr>
              </a:patt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Lbls>
            <c:dLbl>
              <c:idx val="0"/>
              <c:layout>
                <c:manualLayout>
                  <c:x val="-0.16148865016298677"/>
                  <c:y val="9.4166093700327511E-2"/>
                </c:manualLayout>
              </c:layout>
              <c:spPr/>
              <c:txPr>
                <a:bodyPr/>
                <a:lstStyle/>
                <a:p>
                  <a:pPr>
                    <a:defRPr sz="1400" b="1">
                      <a:solidFill>
                        <a:schemeClr val="tx1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0.2030545568730284"/>
                  <c:y val="-0.23873144020279974"/>
                </c:manualLayout>
              </c:layout>
              <c:spPr/>
              <c:txPr>
                <a:bodyPr/>
                <a:lstStyle/>
                <a:p>
                  <a:pPr>
                    <a:defRPr sz="1400" b="1"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</c:dLbls>
          <c:cat>
            <c:numRef>
              <c:f>Лист1!$A$2:$A$5</c:f>
              <c:numCache>
                <c:formatCode>General</c:formatCode>
                <c:ptCount val="4"/>
              </c:numCache>
            </c:numRef>
          </c:cat>
          <c:val>
            <c:numRef>
              <c:f>Лист1!$B$2:$B$5</c:f>
              <c:numCache>
                <c:formatCode>0%</c:formatCode>
                <c:ptCount val="4"/>
                <c:pt idx="0">
                  <c:v>0.66</c:v>
                </c:pt>
                <c:pt idx="1">
                  <c:v>0.3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</c:title>
    <c:autoTitleDeleted val="0"/>
    <c:view3D>
      <c:rotX val="30"/>
      <c:rotY val="25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"/>
          <c:y val="0.13251164807701396"/>
          <c:w val="1"/>
          <c:h val="0.72845131442922884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</c:strCache>
            </c:strRef>
          </c:tx>
          <c:spPr>
            <a:scene3d>
              <a:camera prst="orthographicFront"/>
              <a:lightRig rig="threePt" dir="t"/>
            </a:scene3d>
            <a:sp3d>
              <a:bevelT/>
            </a:sp3d>
          </c:spPr>
          <c:explosion val="26"/>
          <c:dPt>
            <c:idx val="0"/>
            <c:bubble3D val="0"/>
            <c:spPr>
              <a:gradFill rotWithShape="1">
                <a:gsLst>
                  <a:gs pos="0">
                    <a:schemeClr val="accent6">
                      <a:tint val="100000"/>
                      <a:shade val="100000"/>
                      <a:satMod val="130000"/>
                    </a:schemeClr>
                  </a:gs>
                  <a:gs pos="100000">
                    <a:schemeClr val="accent6">
                      <a:tint val="50000"/>
                      <a:shade val="100000"/>
                      <a:satMod val="350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1"/>
            <c:bubble3D val="0"/>
            <c:spPr>
              <a:solidFill>
                <a:srgbClr val="C00000"/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Pt>
            <c:idx val="2"/>
            <c:bubble3D val="0"/>
            <c:spPr>
              <a:pattFill prst="dkUpDiag">
                <a:fgClr>
                  <a:srgbClr val="FF0000"/>
                </a:fgClr>
                <a:bgClr>
                  <a:schemeClr val="bg1"/>
                </a:bgClr>
              </a:patt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Lbls>
            <c:dLbl>
              <c:idx val="0"/>
              <c:layout>
                <c:manualLayout>
                  <c:x val="-0.12213441620282732"/>
                  <c:y val="0.16355021291474672"/>
                </c:manualLayout>
              </c:layout>
              <c:spPr/>
              <c:txPr>
                <a:bodyPr/>
                <a:lstStyle/>
                <a:p>
                  <a:pPr>
                    <a:defRPr sz="1400" b="1">
                      <a:solidFill>
                        <a:schemeClr val="tx1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0.13309096392967593"/>
                  <c:y val="-0.23873144020279982"/>
                </c:manualLayout>
              </c:layout>
              <c:spPr/>
              <c:txPr>
                <a:bodyPr/>
                <a:lstStyle/>
                <a:p>
                  <a:pPr>
                    <a:defRPr sz="1400" b="1"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</c:dLbls>
          <c:cat>
            <c:numRef>
              <c:f>Лист1!$A$2:$A$5</c:f>
              <c:numCache>
                <c:formatCode>General</c:formatCode>
                <c:ptCount val="4"/>
              </c:numCache>
            </c:numRef>
          </c:cat>
          <c:val>
            <c:numRef>
              <c:f>Лист1!$B$2:$B$5</c:f>
              <c:numCache>
                <c:formatCode>0%</c:formatCode>
                <c:ptCount val="4"/>
                <c:pt idx="0">
                  <c:v>0.8</c:v>
                </c:pt>
                <c:pt idx="1">
                  <c:v>0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</c:title>
    <c:autoTitleDeleted val="0"/>
    <c:view3D>
      <c:rotX val="30"/>
      <c:rotY val="21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"/>
          <c:y val="0.13251164807701396"/>
          <c:w val="1"/>
          <c:h val="0.72845131442922884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</c:strCache>
            </c:strRef>
          </c:tx>
          <c:spPr>
            <a:scene3d>
              <a:camera prst="orthographicFront"/>
              <a:lightRig rig="threePt" dir="t"/>
            </a:scene3d>
            <a:sp3d>
              <a:bevelT/>
            </a:sp3d>
          </c:spPr>
          <c:explosion val="26"/>
          <c:dPt>
            <c:idx val="0"/>
            <c:bubble3D val="0"/>
            <c:spPr>
              <a:solidFill>
                <a:srgbClr val="FFC000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1"/>
            <c:bubble3D val="0"/>
            <c:spPr>
              <a:solidFill>
                <a:srgbClr val="C00000"/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Pt>
            <c:idx val="2"/>
            <c:bubble3D val="0"/>
            <c:spPr>
              <a:pattFill prst="dkUpDiag">
                <a:fgClr>
                  <a:srgbClr val="FF0000"/>
                </a:fgClr>
                <a:bgClr>
                  <a:schemeClr val="bg1"/>
                </a:bgClr>
              </a:patt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Lbls>
            <c:dLbl>
              <c:idx val="0"/>
              <c:layout>
                <c:manualLayout>
                  <c:x val="-0.10464360404382068"/>
                  <c:y val="0.21311064698610122"/>
                </c:manualLayout>
              </c:layout>
              <c:spPr/>
              <c:txPr>
                <a:bodyPr/>
                <a:lstStyle/>
                <a:p>
                  <a:pPr>
                    <a:defRPr sz="1400" b="1">
                      <a:solidFill>
                        <a:schemeClr val="tx1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2.4326345501383771E-2"/>
                  <c:y val="-0.23873222068207645"/>
                </c:manualLayout>
              </c:layout>
              <c:spPr/>
              <c:txPr>
                <a:bodyPr/>
                <a:lstStyle/>
                <a:p>
                  <a:pPr>
                    <a:defRPr sz="1400" b="1">
                      <a:solidFill>
                        <a:srgbClr val="C00000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</c:dLbls>
          <c:cat>
            <c:numRef>
              <c:f>Лист1!$A$2:$A$5</c:f>
              <c:numCache>
                <c:formatCode>General</c:formatCode>
                <c:ptCount val="4"/>
              </c:numCache>
            </c:numRef>
          </c:cat>
          <c:val>
            <c:numRef>
              <c:f>Лист1!$B$2:$B$5</c:f>
              <c:numCache>
                <c:formatCode>0%</c:formatCode>
                <c:ptCount val="4"/>
                <c:pt idx="0">
                  <c:v>0.98</c:v>
                </c:pt>
                <c:pt idx="1">
                  <c:v>0.0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539095176475196E-2"/>
          <c:y val="5.0925925925925923E-2"/>
          <c:w val="0.95729481296642505"/>
          <c:h val="0.45302785068533102"/>
        </c:manualLayout>
      </c:layout>
      <c:barChart>
        <c:barDir val="col"/>
        <c:grouping val="percentStacked"/>
        <c:varyColors val="0"/>
        <c:ser>
          <c:idx val="1"/>
          <c:order val="0"/>
          <c:tx>
            <c:strRef>
              <c:f>Лист1!$A$5</c:f>
              <c:strCache>
                <c:ptCount val="1"/>
                <c:pt idx="0">
                  <c:v>Прочие операторы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tint val="100000"/>
                    <a:shade val="100000"/>
                    <a:satMod val="130000"/>
                  </a:schemeClr>
                </a:gs>
                <a:gs pos="100000">
                  <a:schemeClr val="accent1">
                    <a:tint val="50000"/>
                    <a:shade val="100000"/>
                    <a:satMod val="350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cat>
            <c:strRef>
              <c:f>Лист1!$B$3:$L$3</c:f>
              <c:strCache>
                <c:ptCount val="11"/>
                <c:pt idx="0">
                  <c:v>ОАО "СУЭК"</c:v>
                </c:pt>
                <c:pt idx="1">
                  <c:v>ООО "УГМК-Холдинг"</c:v>
                </c:pt>
                <c:pt idx="2">
                  <c:v>ОАО "МЕЧЕЛ"</c:v>
                </c:pt>
                <c:pt idx="3">
                  <c:v>Северсталь-групп</c:v>
                </c:pt>
                <c:pt idx="4">
                  <c:v>группа КОКС</c:v>
                </c:pt>
                <c:pt idx="5">
                  <c:v>ОАО "РУССКИЙ УГОЛЬ"</c:v>
                </c:pt>
                <c:pt idx="6">
                  <c:v>МХК ЕвроХим</c:v>
                </c:pt>
                <c:pt idx="7">
                  <c:v>ООО Холдинг Сибуглемет</c:v>
                </c:pt>
                <c:pt idx="8">
                  <c:v>Группа илим</c:v>
                </c:pt>
                <c:pt idx="9">
                  <c:v>ОАО "РУСАЛ"</c:v>
                </c:pt>
                <c:pt idx="10">
                  <c:v>ОАО «Национальная нерудная компания»</c:v>
                </c:pt>
              </c:strCache>
            </c:strRef>
          </c:cat>
          <c:val>
            <c:numRef>
              <c:f>Лист1!$B$5:$L$5</c:f>
              <c:numCache>
                <c:formatCode>0%</c:formatCode>
                <c:ptCount val="11"/>
                <c:pt idx="0">
                  <c:v>0.76438909025474921</c:v>
                </c:pt>
                <c:pt idx="1">
                  <c:v>0.76841347019629036</c:v>
                </c:pt>
                <c:pt idx="2">
                  <c:v>0.83894743511224679</c:v>
                </c:pt>
                <c:pt idx="3">
                  <c:v>0.85158769698717784</c:v>
                </c:pt>
                <c:pt idx="4">
                  <c:v>0.56702468963593256</c:v>
                </c:pt>
                <c:pt idx="5">
                  <c:v>0.3777805087870223</c:v>
                </c:pt>
                <c:pt idx="6">
                  <c:v>0.39594717668488155</c:v>
                </c:pt>
                <c:pt idx="7">
                  <c:v>0.67747298420615132</c:v>
                </c:pt>
                <c:pt idx="8">
                  <c:v>0.65999999999999992</c:v>
                </c:pt>
                <c:pt idx="9">
                  <c:v>0.85193584966790858</c:v>
                </c:pt>
                <c:pt idx="10">
                  <c:v>0.85</c:v>
                </c:pt>
              </c:numCache>
            </c:numRef>
          </c:val>
        </c:ser>
        <c:ser>
          <c:idx val="0"/>
          <c:order val="1"/>
          <c:tx>
            <c:strRef>
              <c:f>Лист1!$A$4</c:f>
              <c:strCache>
                <c:ptCount val="1"/>
                <c:pt idx="0">
                  <c:v>ФГК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txPr>
              <a:bodyPr/>
              <a:lstStyle/>
              <a:p>
                <a:pPr>
                  <a:defRPr sz="1100"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B$3:$L$3</c:f>
              <c:strCache>
                <c:ptCount val="11"/>
                <c:pt idx="0">
                  <c:v>ОАО "СУЭК"</c:v>
                </c:pt>
                <c:pt idx="1">
                  <c:v>ООО "УГМК-Холдинг"</c:v>
                </c:pt>
                <c:pt idx="2">
                  <c:v>ОАО "МЕЧЕЛ"</c:v>
                </c:pt>
                <c:pt idx="3">
                  <c:v>Северсталь-групп</c:v>
                </c:pt>
                <c:pt idx="4">
                  <c:v>группа КОКС</c:v>
                </c:pt>
                <c:pt idx="5">
                  <c:v>ОАО "РУССКИЙ УГОЛЬ"</c:v>
                </c:pt>
                <c:pt idx="6">
                  <c:v>МХК ЕвроХим</c:v>
                </c:pt>
                <c:pt idx="7">
                  <c:v>ООО Холдинг Сибуглемет</c:v>
                </c:pt>
                <c:pt idx="8">
                  <c:v>Группа илим</c:v>
                </c:pt>
                <c:pt idx="9">
                  <c:v>ОАО "РУСАЛ"</c:v>
                </c:pt>
                <c:pt idx="10">
                  <c:v>ОАО «Национальная нерудная компания»</c:v>
                </c:pt>
              </c:strCache>
            </c:strRef>
          </c:cat>
          <c:val>
            <c:numRef>
              <c:f>Лист1!$B$4:$L$4</c:f>
              <c:numCache>
                <c:formatCode>0%</c:formatCode>
                <c:ptCount val="11"/>
                <c:pt idx="0">
                  <c:v>0.23561090974525076</c:v>
                </c:pt>
                <c:pt idx="1">
                  <c:v>0.2315865298037097</c:v>
                </c:pt>
                <c:pt idx="2">
                  <c:v>0.16105256488775316</c:v>
                </c:pt>
                <c:pt idx="3">
                  <c:v>0.14841230301282218</c:v>
                </c:pt>
                <c:pt idx="4">
                  <c:v>0.4329753103640675</c:v>
                </c:pt>
                <c:pt idx="5">
                  <c:v>0.6222194912129777</c:v>
                </c:pt>
                <c:pt idx="6">
                  <c:v>0.60405282331511845</c:v>
                </c:pt>
                <c:pt idx="7">
                  <c:v>0.32252701579384874</c:v>
                </c:pt>
                <c:pt idx="8">
                  <c:v>0.34</c:v>
                </c:pt>
                <c:pt idx="9">
                  <c:v>0.14806415033209136</c:v>
                </c:pt>
                <c:pt idx="10">
                  <c:v>0.1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54080768"/>
        <c:axId val="77726272"/>
      </c:barChart>
      <c:catAx>
        <c:axId val="154080768"/>
        <c:scaling>
          <c:orientation val="minMax"/>
        </c:scaling>
        <c:delete val="0"/>
        <c:axPos val="b"/>
        <c:majorTickMark val="out"/>
        <c:minorTickMark val="none"/>
        <c:tickLblPos val="none"/>
        <c:crossAx val="77726272"/>
        <c:crosses val="autoZero"/>
        <c:auto val="1"/>
        <c:lblAlgn val="ctr"/>
        <c:lblOffset val="100"/>
        <c:noMultiLvlLbl val="0"/>
      </c:catAx>
      <c:valAx>
        <c:axId val="77726272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15408076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20930148448733513"/>
          <c:y val="0.7286217913976164"/>
          <c:w val="0.51662824834011245"/>
          <c:h val="0.1096176775732049"/>
        </c:manualLayout>
      </c:layout>
      <c:overlay val="0"/>
      <c:txPr>
        <a:bodyPr/>
        <a:lstStyle/>
        <a:p>
          <a:pPr>
            <a:defRPr sz="1200" b="1"/>
          </a:pPr>
          <a:endParaRPr lang="ru-RU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ser>
          <c:idx val="0"/>
          <c:order val="0"/>
          <c:dPt>
            <c:idx val="0"/>
            <c:bubble3D val="0"/>
            <c:spPr>
              <a:gradFill rotWithShape="1">
                <a:gsLst>
                  <a:gs pos="0">
                    <a:schemeClr val="accent6">
                      <a:tint val="100000"/>
                      <a:shade val="100000"/>
                      <a:satMod val="130000"/>
                    </a:schemeClr>
                  </a:gs>
                  <a:gs pos="100000">
                    <a:schemeClr val="accent6">
                      <a:tint val="50000"/>
                      <a:shade val="100000"/>
                      <a:satMod val="350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1"/>
            <c:bubble3D val="0"/>
            <c:spPr>
              <a:gradFill rotWithShape="1">
                <a:gsLst>
                  <a:gs pos="0">
                    <a:schemeClr val="accent4">
                      <a:tint val="100000"/>
                      <a:shade val="100000"/>
                      <a:satMod val="130000"/>
                    </a:schemeClr>
                  </a:gs>
                  <a:gs pos="100000">
                    <a:schemeClr val="accent4">
                      <a:tint val="50000"/>
                      <a:shade val="100000"/>
                      <a:satMod val="350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2"/>
            <c:bubble3D val="0"/>
            <c:spPr>
              <a:gradFill rotWithShape="1">
                <a:gsLst>
                  <a:gs pos="0">
                    <a:schemeClr val="accent1">
                      <a:tint val="100000"/>
                      <a:shade val="100000"/>
                      <a:satMod val="130000"/>
                    </a:schemeClr>
                  </a:gs>
                  <a:gs pos="100000">
                    <a:schemeClr val="accent1">
                      <a:tint val="50000"/>
                      <a:shade val="100000"/>
                      <a:satMod val="350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Lbls>
            <c:dLbl>
              <c:idx val="0"/>
              <c:layout>
                <c:manualLayout>
                  <c:x val="-0.15845275590551181"/>
                  <c:y val="9.081849132680772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0.13758333333333334"/>
                  <c:y val="-0.1120515100968999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05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Лист1!$B$34:$D$34</c:f>
              <c:strCache>
                <c:ptCount val="3"/>
                <c:pt idx="0">
                  <c:v>крупные ГРО</c:v>
                </c:pt>
                <c:pt idx="1">
                  <c:v>средние и мелкие ГРО</c:v>
                </c:pt>
                <c:pt idx="2">
                  <c:v>корпоративный заказ РЖД</c:v>
                </c:pt>
              </c:strCache>
            </c:strRef>
          </c:cat>
          <c:val>
            <c:numRef>
              <c:f>Лист1!$B$35:$D$35</c:f>
              <c:numCache>
                <c:formatCode>0%</c:formatCode>
                <c:ptCount val="3"/>
                <c:pt idx="0">
                  <c:v>0.47</c:v>
                </c:pt>
                <c:pt idx="1">
                  <c:v>0.48</c:v>
                </c:pt>
                <c:pt idx="2">
                  <c:v>0.0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legend>
      <c:legendPos val="r"/>
      <c:layout>
        <c:manualLayout>
          <c:xMode val="edge"/>
          <c:yMode val="edge"/>
          <c:x val="0.59657064741907262"/>
          <c:y val="0.24831352153226105"/>
          <c:w val="0.38676268591426066"/>
          <c:h val="0.5033729569354779"/>
        </c:manualLayout>
      </c:layout>
      <c:overlay val="0"/>
      <c:txPr>
        <a:bodyPr/>
        <a:lstStyle/>
        <a:p>
          <a:pPr>
            <a:defRPr b="1"/>
          </a:pPr>
          <a:endParaRPr lang="ru-RU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doughnutChart>
        <c:varyColors val="1"/>
        <c:ser>
          <c:idx val="0"/>
          <c:order val="0"/>
          <c:dPt>
            <c:idx val="0"/>
            <c:bubble3D val="0"/>
            <c:spPr>
              <a:gradFill rotWithShape="1">
                <a:gsLst>
                  <a:gs pos="0">
                    <a:schemeClr val="accent4">
                      <a:tint val="100000"/>
                      <a:shade val="100000"/>
                      <a:satMod val="130000"/>
                    </a:schemeClr>
                  </a:gs>
                  <a:gs pos="100000">
                    <a:schemeClr val="accent4">
                      <a:tint val="50000"/>
                      <a:shade val="100000"/>
                      <a:satMod val="350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1"/>
            <c:bubble3D val="0"/>
            <c:spPr>
              <a:gradFill rotWithShape="1">
                <a:gsLst>
                  <a:gs pos="0">
                    <a:schemeClr val="accent6">
                      <a:tint val="100000"/>
                      <a:shade val="100000"/>
                      <a:satMod val="130000"/>
                    </a:schemeClr>
                  </a:gs>
                  <a:gs pos="100000">
                    <a:schemeClr val="accent6">
                      <a:tint val="50000"/>
                      <a:shade val="100000"/>
                      <a:satMod val="350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2"/>
            <c:bubble3D val="0"/>
            <c:spPr>
              <a:gradFill rotWithShape="1">
                <a:gsLst>
                  <a:gs pos="0">
                    <a:schemeClr val="accent1">
                      <a:tint val="100000"/>
                      <a:shade val="100000"/>
                      <a:satMod val="130000"/>
                    </a:schemeClr>
                  </a:gs>
                  <a:gs pos="100000">
                    <a:schemeClr val="accent1">
                      <a:tint val="50000"/>
                      <a:shade val="100000"/>
                      <a:satMod val="350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3"/>
            <c:bubble3D val="0"/>
            <c:spPr>
              <a:solidFill>
                <a:srgbClr val="FF9900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cat>
            <c:strRef>
              <c:f>'закупка ПС'!$E$2:$E$5</c:f>
              <c:strCache>
                <c:ptCount val="4"/>
                <c:pt idx="0">
                  <c:v>Крытые</c:v>
                </c:pt>
                <c:pt idx="1">
                  <c:v>Платформы</c:v>
                </c:pt>
                <c:pt idx="2">
                  <c:v>Полувагоны</c:v>
                </c:pt>
                <c:pt idx="3">
                  <c:v>Цистерны</c:v>
                </c:pt>
              </c:strCache>
            </c:strRef>
          </c:cat>
          <c:val>
            <c:numRef>
              <c:f>'закупка ПС'!$F$2:$F$5</c:f>
              <c:numCache>
                <c:formatCode>General</c:formatCode>
                <c:ptCount val="4"/>
                <c:pt idx="0">
                  <c:v>2150</c:v>
                </c:pt>
                <c:pt idx="1">
                  <c:v>290</c:v>
                </c:pt>
                <c:pt idx="2">
                  <c:v>10950</c:v>
                </c:pt>
                <c:pt idx="3">
                  <c:v>446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legend>
      <c:legendPos val="r"/>
      <c:layout/>
      <c:overlay val="0"/>
      <c:txPr>
        <a:bodyPr/>
        <a:lstStyle/>
        <a:p>
          <a:pPr>
            <a:defRPr b="1"/>
          </a:pPr>
          <a:endParaRPr lang="ru-RU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5333910512888027E-2"/>
          <c:y val="0.14675943077189751"/>
          <c:w val="0.92933217897422393"/>
          <c:h val="0.63432430503393678"/>
        </c:manualLayout>
      </c:layout>
      <c:barChart>
        <c:barDir val="col"/>
        <c:grouping val="clustered"/>
        <c:varyColors val="0"/>
        <c:ser>
          <c:idx val="1"/>
          <c:order val="0"/>
          <c:spPr>
            <a:gradFill rotWithShape="1">
              <a:gsLst>
                <a:gs pos="0">
                  <a:schemeClr val="accent6">
                    <a:tint val="100000"/>
                    <a:shade val="100000"/>
                    <a:satMod val="130000"/>
                  </a:schemeClr>
                </a:gs>
                <a:gs pos="100000">
                  <a:schemeClr val="accent6">
                    <a:tint val="50000"/>
                    <a:shade val="100000"/>
                    <a:satMod val="350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>
                        <a:solidFill>
                          <a:schemeClr val="tx1"/>
                        </a:solidFill>
                      </a:rPr>
                      <a:t>4,</a:t>
                    </a:r>
                    <a:r>
                      <a:rPr lang="ru-RU" smtClean="0">
                        <a:solidFill>
                          <a:schemeClr val="tx1"/>
                        </a:solidFill>
                      </a:rPr>
                      <a:t>4</a:t>
                    </a:r>
                    <a:r>
                      <a:rPr lang="en-US" smtClean="0">
                        <a:solidFill>
                          <a:schemeClr val="tx1"/>
                        </a:solidFill>
                      </a:rPr>
                      <a:t>%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050"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4!$G$3:$I$3</c:f>
              <c:numCache>
                <c:formatCode>General</c:formatCode>
                <c:ptCount val="3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</c:numCache>
            </c:numRef>
          </c:cat>
          <c:val>
            <c:numRef>
              <c:f>Лист4!$G$4:$I$4</c:f>
              <c:numCache>
                <c:formatCode>0.0%</c:formatCode>
                <c:ptCount val="3"/>
                <c:pt idx="0">
                  <c:v>7.1999999999999995E-2</c:v>
                </c:pt>
                <c:pt idx="1">
                  <c:v>4.2999999999999997E-2</c:v>
                </c:pt>
                <c:pt idx="2">
                  <c:v>4.2000000000000003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54718720"/>
        <c:axId val="77739648"/>
      </c:barChart>
      <c:catAx>
        <c:axId val="15471872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77739648"/>
        <c:crosses val="autoZero"/>
        <c:auto val="1"/>
        <c:lblAlgn val="ctr"/>
        <c:lblOffset val="100"/>
        <c:noMultiLvlLbl val="0"/>
      </c:catAx>
      <c:valAx>
        <c:axId val="77739648"/>
        <c:scaling>
          <c:orientation val="minMax"/>
        </c:scaling>
        <c:delete val="1"/>
        <c:axPos val="l"/>
        <c:numFmt formatCode="0.0%" sourceLinked="1"/>
        <c:majorTickMark val="out"/>
        <c:minorTickMark val="none"/>
        <c:tickLblPos val="nextTo"/>
        <c:crossAx val="154718720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5!$B$1</c:f>
              <c:strCache>
                <c:ptCount val="1"/>
                <c:pt idx="0">
                  <c:v>крытые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tint val="100000"/>
                    <a:shade val="100000"/>
                    <a:satMod val="130000"/>
                  </a:schemeClr>
                </a:gs>
                <a:gs pos="100000">
                  <a:schemeClr val="accent4">
                    <a:tint val="50000"/>
                    <a:shade val="100000"/>
                    <a:satMod val="350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Lbl>
              <c:idx val="0"/>
              <c:delete val="1"/>
            </c:dLbl>
            <c:numFmt formatCode="#,##0" sourceLinked="0"/>
            <c:txPr>
              <a:bodyPr/>
              <a:lstStyle/>
              <a:p>
                <a:pPr>
                  <a:defRPr sz="8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5!$A$2:$A$4</c:f>
              <c:strCache>
                <c:ptCount val="3"/>
                <c:pt idx="0">
                  <c:v>2011</c:v>
                </c:pt>
                <c:pt idx="1">
                  <c:v>2012</c:v>
                </c:pt>
                <c:pt idx="2">
                  <c:v>7 мес. 2013</c:v>
                </c:pt>
              </c:strCache>
            </c:strRef>
          </c:cat>
          <c:val>
            <c:numRef>
              <c:f>Лист5!$B$2:$B$4</c:f>
              <c:numCache>
                <c:formatCode>General</c:formatCode>
                <c:ptCount val="3"/>
                <c:pt idx="0">
                  <c:v>9</c:v>
                </c:pt>
                <c:pt idx="1">
                  <c:v>1456</c:v>
                </c:pt>
                <c:pt idx="2">
                  <c:v>561</c:v>
                </c:pt>
              </c:numCache>
            </c:numRef>
          </c:val>
        </c:ser>
        <c:ser>
          <c:idx val="1"/>
          <c:order val="1"/>
          <c:tx>
            <c:strRef>
              <c:f>Лист5!$C$1</c:f>
              <c:strCache>
                <c:ptCount val="1"/>
                <c:pt idx="0">
                  <c:v>полувагоны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tint val="100000"/>
                    <a:shade val="100000"/>
                    <a:satMod val="130000"/>
                  </a:schemeClr>
                </a:gs>
                <a:gs pos="100000">
                  <a:schemeClr val="accent1">
                    <a:tint val="50000"/>
                    <a:shade val="100000"/>
                    <a:satMod val="350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numFmt formatCode="#,##0" sourceLinked="0"/>
            <c:txPr>
              <a:bodyPr/>
              <a:lstStyle/>
              <a:p>
                <a:pPr>
                  <a:defRPr sz="8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5!$A$2:$A$4</c:f>
              <c:strCache>
                <c:ptCount val="3"/>
                <c:pt idx="0">
                  <c:v>2011</c:v>
                </c:pt>
                <c:pt idx="1">
                  <c:v>2012</c:v>
                </c:pt>
                <c:pt idx="2">
                  <c:v>7 мес. 2013</c:v>
                </c:pt>
              </c:strCache>
            </c:strRef>
          </c:cat>
          <c:val>
            <c:numRef>
              <c:f>Лист5!$C$2:$C$4</c:f>
              <c:numCache>
                <c:formatCode>General</c:formatCode>
                <c:ptCount val="3"/>
                <c:pt idx="0">
                  <c:v>989</c:v>
                </c:pt>
                <c:pt idx="1">
                  <c:v>4546</c:v>
                </c:pt>
                <c:pt idx="2">
                  <c:v>4289</c:v>
                </c:pt>
              </c:numCache>
            </c:numRef>
          </c:val>
        </c:ser>
        <c:ser>
          <c:idx val="2"/>
          <c:order val="2"/>
          <c:tx>
            <c:strRef>
              <c:f>Лист5!$D$1</c:f>
              <c:strCache>
                <c:ptCount val="1"/>
                <c:pt idx="0">
                  <c:v>платформы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tint val="100000"/>
                    <a:shade val="100000"/>
                    <a:satMod val="130000"/>
                  </a:schemeClr>
                </a:gs>
                <a:gs pos="100000">
                  <a:schemeClr val="accent6">
                    <a:tint val="50000"/>
                    <a:shade val="100000"/>
                    <a:satMod val="350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cat>
            <c:strRef>
              <c:f>Лист5!$A$2:$A$4</c:f>
              <c:strCache>
                <c:ptCount val="3"/>
                <c:pt idx="0">
                  <c:v>2011</c:v>
                </c:pt>
                <c:pt idx="1">
                  <c:v>2012</c:v>
                </c:pt>
                <c:pt idx="2">
                  <c:v>7 мес. 2013</c:v>
                </c:pt>
              </c:strCache>
            </c:strRef>
          </c:cat>
          <c:val>
            <c:numRef>
              <c:f>Лист5!$D$2:$D$4</c:f>
              <c:numCache>
                <c:formatCode>General</c:formatCode>
                <c:ptCount val="3"/>
                <c:pt idx="0">
                  <c:v>0</c:v>
                </c:pt>
                <c:pt idx="1">
                  <c:v>620</c:v>
                </c:pt>
                <c:pt idx="2">
                  <c:v>9</c:v>
                </c:pt>
              </c:numCache>
            </c:numRef>
          </c:val>
        </c:ser>
        <c:ser>
          <c:idx val="3"/>
          <c:order val="3"/>
          <c:tx>
            <c:strRef>
              <c:f>Лист5!$E$1</c:f>
              <c:strCache>
                <c:ptCount val="1"/>
                <c:pt idx="0">
                  <c:v>прочие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Lbl>
              <c:idx val="0"/>
              <c:delete val="1"/>
            </c:dLbl>
            <c:numFmt formatCode="#,##0" sourceLinked="0"/>
            <c:txPr>
              <a:bodyPr/>
              <a:lstStyle/>
              <a:p>
                <a:pPr>
                  <a:defRPr sz="800"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5!$A$2:$A$4</c:f>
              <c:strCache>
                <c:ptCount val="3"/>
                <c:pt idx="0">
                  <c:v>2011</c:v>
                </c:pt>
                <c:pt idx="1">
                  <c:v>2012</c:v>
                </c:pt>
                <c:pt idx="2">
                  <c:v>7 мес. 2013</c:v>
                </c:pt>
              </c:strCache>
            </c:strRef>
          </c:cat>
          <c:val>
            <c:numRef>
              <c:f>Лист5!$E$2:$E$4</c:f>
              <c:numCache>
                <c:formatCode>General</c:formatCode>
                <c:ptCount val="3"/>
                <c:pt idx="0">
                  <c:v>53</c:v>
                </c:pt>
                <c:pt idx="1">
                  <c:v>967</c:v>
                </c:pt>
                <c:pt idx="2">
                  <c:v>141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54721792"/>
        <c:axId val="137453568"/>
      </c:barChart>
      <c:catAx>
        <c:axId val="154721792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137453568"/>
        <c:crosses val="autoZero"/>
        <c:auto val="1"/>
        <c:lblAlgn val="ctr"/>
        <c:lblOffset val="100"/>
        <c:noMultiLvlLbl val="0"/>
      </c:catAx>
      <c:valAx>
        <c:axId val="13745356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54721792"/>
        <c:crosses val="autoZero"/>
        <c:crossBetween val="between"/>
      </c:valAx>
    </c:plotArea>
    <c:legend>
      <c:legendPos val="r"/>
      <c:layout/>
      <c:overlay val="0"/>
      <c:txPr>
        <a:bodyPr/>
        <a:lstStyle/>
        <a:p>
          <a:pPr>
            <a:defRPr b="1"/>
          </a:pPr>
          <a:endParaRPr lang="ru-RU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30"/>
      <c:rotY val="175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1.5486084202026334E-2"/>
          <c:y val="0.28731481481481486"/>
          <c:w val="0.6224663384285215"/>
          <c:h val="0.67564814814814811"/>
        </c:manualLayout>
      </c:layout>
      <c:pie3D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61099810191577775"/>
          <c:y val="0.29116037199929973"/>
          <c:w val="0.32124869723469879"/>
          <c:h val="0.58067636561114422"/>
        </c:manualLayout>
      </c:layout>
      <c:overlay val="0"/>
      <c:txPr>
        <a:bodyPr/>
        <a:lstStyle/>
        <a:p>
          <a:pPr>
            <a:defRPr sz="1000">
              <a:latin typeface="Arial" panose="020B0604020202020204" pitchFamily="34" charset="0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</c:spPr>
  <c:externalData r:id="rId2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</c:title>
    <c:autoTitleDeleted val="0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руктура погрузки Хабаровского филиала ОАО "ФГК"</c:v>
                </c:pt>
              </c:strCache>
            </c:strRef>
          </c:tx>
          <c:dPt>
            <c:idx val="0"/>
            <c:bubble3D val="0"/>
            <c:spPr>
              <a:solidFill>
                <a:srgbClr val="4E6228"/>
              </a:solidFill>
            </c:spPr>
          </c:dPt>
          <c:dPt>
            <c:idx val="1"/>
            <c:bubble3D val="0"/>
            <c:spPr>
              <a:solidFill>
                <a:srgbClr val="5F497A"/>
              </a:solidFill>
            </c:spPr>
          </c:dPt>
          <c:dPt>
            <c:idx val="2"/>
            <c:bubble3D val="0"/>
            <c:spPr>
              <a:solidFill>
                <a:srgbClr val="4F81BD"/>
              </a:solidFill>
            </c:spPr>
          </c:dPt>
          <c:dPt>
            <c:idx val="3"/>
            <c:bubble3D val="0"/>
            <c:spPr>
              <a:solidFill>
                <a:srgbClr val="F15151"/>
              </a:solidFill>
            </c:spPr>
          </c:dPt>
          <c:dPt>
            <c:idx val="4"/>
            <c:bubble3D val="0"/>
            <c:spPr>
              <a:solidFill>
                <a:srgbClr val="FF9900"/>
              </a:solidFill>
            </c:spPr>
          </c:dPt>
          <c:dLbls>
            <c:dLbl>
              <c:idx val="1"/>
              <c:layout>
                <c:manualLayout>
                  <c:x val="1.1702388806765425E-2"/>
                  <c:y val="-1.2112121256175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7.8109564933365683E-2"/>
                  <c:y val="-3.883208435197080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Лист1!$A$2:$A$6</c:f>
              <c:strCache>
                <c:ptCount val="5"/>
                <c:pt idx="0">
                  <c:v>каменный уголь и кокс</c:v>
                </c:pt>
                <c:pt idx="1">
                  <c:v>минерально-строительные грузы</c:v>
                </c:pt>
                <c:pt idx="2">
                  <c:v>черные металлы</c:v>
                </c:pt>
                <c:pt idx="3">
                  <c:v>лесные грузы</c:v>
                </c:pt>
                <c:pt idx="4">
                  <c:v>остальные</c:v>
                </c:pt>
              </c:strCache>
            </c:strRef>
          </c:cat>
          <c:val>
            <c:numRef>
              <c:f>Лист1!$B$2:$B$6</c:f>
              <c:numCache>
                <c:formatCode>0%</c:formatCode>
                <c:ptCount val="5"/>
                <c:pt idx="0">
                  <c:v>0.75</c:v>
                </c:pt>
                <c:pt idx="1">
                  <c:v>0.11</c:v>
                </c:pt>
                <c:pt idx="2">
                  <c:v>0.05</c:v>
                </c:pt>
                <c:pt idx="3">
                  <c:v>0.01</c:v>
                </c:pt>
                <c:pt idx="4">
                  <c:v>0.0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legend>
      <c:legendPos val="r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9943604319856489E-2"/>
          <c:y val="0.2065958854341767"/>
          <c:w val="0.92011279136028701"/>
          <c:h val="0.5253879773124098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2011_7мес2013'!$C$24</c:f>
              <c:strCache>
                <c:ptCount val="1"/>
                <c:pt idx="0">
                  <c:v>ФГК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tint val="100000"/>
                    <a:shade val="100000"/>
                    <a:satMod val="130000"/>
                  </a:schemeClr>
                </a:gs>
                <a:gs pos="100000">
                  <a:schemeClr val="accent1">
                    <a:tint val="50000"/>
                    <a:shade val="100000"/>
                    <a:satMod val="350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txPr>
              <a:bodyPr/>
              <a:lstStyle/>
              <a:p>
                <a:pPr>
                  <a:defRPr sz="1200"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'2011_7мес2013'!$D$21:$F$21</c:f>
              <c:numCache>
                <c:formatCode>General</c:formatCode>
                <c:ptCount val="3"/>
                <c:pt idx="0">
                  <c:v>2011</c:v>
                </c:pt>
                <c:pt idx="1">
                  <c:v>2013</c:v>
                </c:pt>
                <c:pt idx="2">
                  <c:v>2013</c:v>
                </c:pt>
              </c:numCache>
            </c:numRef>
          </c:cat>
          <c:val>
            <c:numRef>
              <c:f>'2011_7мес2013'!$D$24:$F$24</c:f>
              <c:numCache>
                <c:formatCode>0%</c:formatCode>
                <c:ptCount val="3"/>
                <c:pt idx="0">
                  <c:v>0.09</c:v>
                </c:pt>
                <c:pt idx="1">
                  <c:v>0.09</c:v>
                </c:pt>
                <c:pt idx="2">
                  <c:v>0.1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30743808"/>
        <c:axId val="130606208"/>
      </c:barChart>
      <c:catAx>
        <c:axId val="13074380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100" b="1"/>
            </a:pPr>
            <a:endParaRPr lang="ru-RU"/>
          </a:p>
        </c:txPr>
        <c:crossAx val="130606208"/>
        <c:crosses val="autoZero"/>
        <c:auto val="1"/>
        <c:lblAlgn val="ctr"/>
        <c:lblOffset val="100"/>
        <c:noMultiLvlLbl val="0"/>
      </c:catAx>
      <c:valAx>
        <c:axId val="130606208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130743808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чие операторы</c:v>
                </c:pt>
              </c:strCache>
            </c:strRef>
          </c:tx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5</c:f>
              <c:strCache>
                <c:ptCount val="3"/>
                <c:pt idx="0">
                  <c:v>ПВ</c:v>
                </c:pt>
                <c:pt idx="1">
                  <c:v>КР</c:v>
                </c:pt>
                <c:pt idx="2">
                  <c:v>ПЛ</c:v>
                </c:pt>
              </c:strCache>
            </c:strRef>
          </c:cat>
          <c:val>
            <c:numRef>
              <c:f>Лист1!$B$2:$B$5</c:f>
              <c:numCache>
                <c:formatCode>0%</c:formatCode>
                <c:ptCount val="4"/>
                <c:pt idx="0">
                  <c:v>0.46</c:v>
                </c:pt>
                <c:pt idx="1">
                  <c:v>0.76</c:v>
                </c:pt>
                <c:pt idx="2">
                  <c:v>0.89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ОАО "ФГК"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5</c:f>
              <c:strCache>
                <c:ptCount val="3"/>
                <c:pt idx="0">
                  <c:v>ПВ</c:v>
                </c:pt>
                <c:pt idx="1">
                  <c:v>КР</c:v>
                </c:pt>
                <c:pt idx="2">
                  <c:v>ПЛ</c:v>
                </c:pt>
              </c:strCache>
            </c:strRef>
          </c:cat>
          <c:val>
            <c:numRef>
              <c:f>Лист1!$C$2:$C$5</c:f>
              <c:numCache>
                <c:formatCode>0%</c:formatCode>
                <c:ptCount val="4"/>
                <c:pt idx="0">
                  <c:v>0.54</c:v>
                </c:pt>
                <c:pt idx="1">
                  <c:v>0.24</c:v>
                </c:pt>
                <c:pt idx="2">
                  <c:v>0.11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Столбец1</c:v>
                </c:pt>
              </c:strCache>
            </c:strRef>
          </c:tx>
          <c:invertIfNegative val="0"/>
          <c:cat>
            <c:strRef>
              <c:f>Лист1!$A$2:$A$5</c:f>
              <c:strCache>
                <c:ptCount val="3"/>
                <c:pt idx="0">
                  <c:v>ПВ</c:v>
                </c:pt>
                <c:pt idx="1">
                  <c:v>КР</c:v>
                </c:pt>
                <c:pt idx="2">
                  <c:v>ПЛ</c:v>
                </c:pt>
              </c:strCache>
            </c:strRef>
          </c:cat>
          <c:val>
            <c:numRef>
              <c:f>Лист1!$D$2:$D$5</c:f>
              <c:numCache>
                <c:formatCode>General</c:formatCode>
                <c:ptCount val="4"/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54549248"/>
        <c:axId val="8593408"/>
      </c:barChart>
      <c:catAx>
        <c:axId val="154549248"/>
        <c:scaling>
          <c:orientation val="minMax"/>
        </c:scaling>
        <c:delete val="0"/>
        <c:axPos val="b"/>
        <c:majorTickMark val="out"/>
        <c:minorTickMark val="none"/>
        <c:tickLblPos val="nextTo"/>
        <c:crossAx val="8593408"/>
        <c:crossesAt val="0"/>
        <c:auto val="1"/>
        <c:lblAlgn val="ctr"/>
        <c:lblOffset val="100"/>
        <c:noMultiLvlLbl val="0"/>
      </c:catAx>
      <c:valAx>
        <c:axId val="8593408"/>
        <c:scaling>
          <c:orientation val="minMax"/>
        </c:scaling>
        <c:delete val="0"/>
        <c:axPos val="l"/>
        <c:majorGridlines/>
        <c:numFmt formatCode="0%" sourceLinked="1"/>
        <c:majorTickMark val="out"/>
        <c:minorTickMark val="none"/>
        <c:tickLblPos val="none"/>
        <c:crossAx val="154549248"/>
        <c:crosses val="autoZero"/>
        <c:crossBetween val="between"/>
      </c:valAx>
    </c:plotArea>
    <c:legend>
      <c:legendPos val="t"/>
      <c:legendEntry>
        <c:idx val="2"/>
        <c:delete val="1"/>
      </c:legendEntry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472669794003671E-2"/>
          <c:y val="0.16724428820861925"/>
          <c:w val="0.91905466041199269"/>
          <c:h val="0.564739574537967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2011_7мес2013'!$C$24</c:f>
              <c:strCache>
                <c:ptCount val="1"/>
                <c:pt idx="0">
                  <c:v>ФГК</c:v>
                </c:pt>
              </c:strCache>
            </c:strRef>
          </c:tx>
          <c:spPr>
            <a:solidFill>
              <a:schemeClr val="accent4">
                <a:lumMod val="75000"/>
              </a:schemeClr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txPr>
              <a:bodyPr/>
              <a:lstStyle/>
              <a:p>
                <a:pPr>
                  <a:defRPr sz="1200"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'2011_7мес2013'!$D$21:$F$21</c:f>
              <c:numCache>
                <c:formatCode>General</c:formatCode>
                <c:ptCount val="3"/>
                <c:pt idx="0">
                  <c:v>2011</c:v>
                </c:pt>
                <c:pt idx="1">
                  <c:v>2013</c:v>
                </c:pt>
                <c:pt idx="2">
                  <c:v>2013</c:v>
                </c:pt>
              </c:numCache>
            </c:numRef>
          </c:cat>
          <c:val>
            <c:numRef>
              <c:f>'2011_7мес2013'!$D$26:$F$26</c:f>
              <c:numCache>
                <c:formatCode>0%</c:formatCode>
                <c:ptCount val="3"/>
                <c:pt idx="0">
                  <c:v>0.04</c:v>
                </c:pt>
                <c:pt idx="1">
                  <c:v>0.23</c:v>
                </c:pt>
                <c:pt idx="2">
                  <c:v>0.2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31137536"/>
        <c:axId val="130607936"/>
      </c:barChart>
      <c:catAx>
        <c:axId val="1311375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100" b="1"/>
            </a:pPr>
            <a:endParaRPr lang="ru-RU"/>
          </a:p>
        </c:txPr>
        <c:crossAx val="130607936"/>
        <c:crosses val="autoZero"/>
        <c:auto val="1"/>
        <c:lblAlgn val="ctr"/>
        <c:lblOffset val="100"/>
        <c:noMultiLvlLbl val="0"/>
      </c:catAx>
      <c:valAx>
        <c:axId val="130607936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131137536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2011_7мес2013'!$C$24</c:f>
              <c:strCache>
                <c:ptCount val="1"/>
                <c:pt idx="0">
                  <c:v>ФГК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tint val="100000"/>
                    <a:shade val="100000"/>
                    <a:satMod val="130000"/>
                  </a:schemeClr>
                </a:gs>
                <a:gs pos="100000">
                  <a:schemeClr val="accent6">
                    <a:tint val="50000"/>
                    <a:shade val="100000"/>
                    <a:satMod val="350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txPr>
              <a:bodyPr/>
              <a:lstStyle/>
              <a:p>
                <a:pPr>
                  <a:defRPr sz="1200"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'2011_7мес2013'!$D$21:$F$21</c:f>
              <c:numCache>
                <c:formatCode>General</c:formatCode>
                <c:ptCount val="3"/>
                <c:pt idx="0">
                  <c:v>2011</c:v>
                </c:pt>
                <c:pt idx="1">
                  <c:v>2013</c:v>
                </c:pt>
                <c:pt idx="2">
                  <c:v>2013</c:v>
                </c:pt>
              </c:numCache>
            </c:numRef>
          </c:cat>
          <c:val>
            <c:numRef>
              <c:f>'2011_7мес2013'!$D$28:$F$28</c:f>
              <c:numCache>
                <c:formatCode>0%</c:formatCode>
                <c:ptCount val="3"/>
                <c:pt idx="0">
                  <c:v>0.01</c:v>
                </c:pt>
                <c:pt idx="1">
                  <c:v>0.16</c:v>
                </c:pt>
                <c:pt idx="2">
                  <c:v>0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31138048"/>
        <c:axId val="130609664"/>
      </c:barChart>
      <c:catAx>
        <c:axId val="1311380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100" b="1"/>
            </a:pPr>
            <a:endParaRPr lang="ru-RU"/>
          </a:p>
        </c:txPr>
        <c:crossAx val="130609664"/>
        <c:crosses val="autoZero"/>
        <c:auto val="1"/>
        <c:lblAlgn val="ctr"/>
        <c:lblOffset val="100"/>
        <c:noMultiLvlLbl val="0"/>
      </c:catAx>
      <c:valAx>
        <c:axId val="130609664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131138048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521235795189316E-2"/>
          <c:y val="5.0925925925925923E-2"/>
          <c:w val="0.64429622935330988"/>
          <c:h val="0.8657407407407407"/>
        </c:manualLayout>
      </c:layout>
      <c:barChart>
        <c:barDir val="bar"/>
        <c:grouping val="clustered"/>
        <c:varyColors val="0"/>
        <c:ser>
          <c:idx val="0"/>
          <c:order val="0"/>
          <c:spPr>
            <a:gradFill rotWithShape="1">
              <a:gsLst>
                <a:gs pos="0">
                  <a:schemeClr val="accent1">
                    <a:tint val="100000"/>
                    <a:shade val="100000"/>
                    <a:satMod val="130000"/>
                  </a:schemeClr>
                </a:gs>
                <a:gs pos="100000">
                  <a:schemeClr val="accent1">
                    <a:tint val="50000"/>
                    <a:shade val="100000"/>
                    <a:satMod val="350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Pt>
            <c:idx val="0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Lbls>
            <c:dLbl>
              <c:idx val="0"/>
              <c:delete val="1"/>
            </c:dLbl>
            <c:dLbl>
              <c:idx val="1"/>
              <c:delete val="1"/>
            </c:dLbl>
            <c:numFmt formatCode="#,##0.0" sourceLinked="0"/>
            <c:txPr>
              <a:bodyPr/>
              <a:lstStyle/>
              <a:p>
                <a:pPr>
                  <a:defRPr sz="10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пв!$A$3:$A$7</c:f>
              <c:strCache>
                <c:ptCount val="5"/>
                <c:pt idx="0">
                  <c:v>Федеральная грузовая компания ОАО</c:v>
                </c:pt>
                <c:pt idx="1">
                  <c:v>Первая грузовая компания ОАО (с учетом ООО НТК)</c:v>
                </c:pt>
                <c:pt idx="2">
                  <c:v>Новая перевозочная компания ОАО</c:v>
                </c:pt>
                <c:pt idx="3">
                  <c:v>НефтеТрансСервис ЗАО</c:v>
                </c:pt>
                <c:pt idx="4">
                  <c:v>ХК Новотранс ОАО</c:v>
                </c:pt>
              </c:strCache>
            </c:strRef>
          </c:cat>
          <c:val>
            <c:numRef>
              <c:f>пв!$B$3:$B$7</c:f>
              <c:numCache>
                <c:formatCode>#,##0</c:formatCode>
                <c:ptCount val="5"/>
                <c:pt idx="0">
                  <c:v>127.325</c:v>
                </c:pt>
                <c:pt idx="1">
                  <c:v>112.81399999999999</c:v>
                </c:pt>
                <c:pt idx="2">
                  <c:v>42.521999999999998</c:v>
                </c:pt>
                <c:pt idx="3">
                  <c:v>39.643999999999998</c:v>
                </c:pt>
                <c:pt idx="4">
                  <c:v>24.7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2"/>
        <c:axId val="131010560"/>
        <c:axId val="125517120"/>
      </c:barChart>
      <c:catAx>
        <c:axId val="131010560"/>
        <c:scaling>
          <c:orientation val="maxMin"/>
        </c:scaling>
        <c:delete val="0"/>
        <c:axPos val="l"/>
        <c:majorTickMark val="out"/>
        <c:minorTickMark val="none"/>
        <c:tickLblPos val="none"/>
        <c:crossAx val="125517120"/>
        <c:crosses val="autoZero"/>
        <c:auto val="1"/>
        <c:lblAlgn val="ctr"/>
        <c:lblOffset val="100"/>
        <c:noMultiLvlLbl val="0"/>
      </c:catAx>
      <c:valAx>
        <c:axId val="125517120"/>
        <c:scaling>
          <c:orientation val="minMax"/>
        </c:scaling>
        <c:delete val="1"/>
        <c:axPos val="t"/>
        <c:numFmt formatCode="#,##0" sourceLinked="1"/>
        <c:majorTickMark val="out"/>
        <c:minorTickMark val="none"/>
        <c:tickLblPos val="nextTo"/>
        <c:crossAx val="131010560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9301671287170116E-2"/>
          <c:y val="4.5439452572112349E-2"/>
          <c:w val="0.93069859438626057"/>
          <c:h val="0.81618642784023376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4">
                <a:lumMod val="75000"/>
              </a:schemeClr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Pt>
            <c:idx val="0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Lbls>
            <c:dLbl>
              <c:idx val="0"/>
              <c:delete val="1"/>
            </c:dLbl>
            <c:dLbl>
              <c:idx val="1"/>
              <c:delete val="1"/>
            </c:dLbl>
            <c:txPr>
              <a:bodyPr/>
              <a:lstStyle/>
              <a:p>
                <a:pPr>
                  <a:defRPr sz="10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кр!$A$3:$A$7</c:f>
              <c:strCache>
                <c:ptCount val="5"/>
                <c:pt idx="0">
                  <c:v>Федеральная грузовая компания ОАО</c:v>
                </c:pt>
                <c:pt idx="1">
                  <c:v>Первая грузовая компания ОАО</c:v>
                </c:pt>
                <c:pt idx="2">
                  <c:v>РГ</c:v>
                </c:pt>
                <c:pt idx="3">
                  <c:v>Спецэнерготранс</c:v>
                </c:pt>
                <c:pt idx="4">
                  <c:v>ЗАО Евросиб</c:v>
                </c:pt>
              </c:strCache>
            </c:strRef>
          </c:cat>
          <c:val>
            <c:numRef>
              <c:f>кр!$B$3:$B$7</c:f>
              <c:numCache>
                <c:formatCode>#,##0.0</c:formatCode>
                <c:ptCount val="5"/>
                <c:pt idx="0">
                  <c:v>24.666</c:v>
                </c:pt>
                <c:pt idx="1">
                  <c:v>16.794</c:v>
                </c:pt>
                <c:pt idx="2">
                  <c:v>5.03</c:v>
                </c:pt>
                <c:pt idx="3">
                  <c:v>2.9780000000000002</c:v>
                </c:pt>
                <c:pt idx="4">
                  <c:v>1.77699999999999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0"/>
        <c:axId val="131011072"/>
        <c:axId val="152736832"/>
      </c:barChart>
      <c:catAx>
        <c:axId val="131011072"/>
        <c:scaling>
          <c:orientation val="maxMin"/>
        </c:scaling>
        <c:delete val="0"/>
        <c:axPos val="l"/>
        <c:majorTickMark val="out"/>
        <c:minorTickMark val="none"/>
        <c:tickLblPos val="none"/>
        <c:crossAx val="152736832"/>
        <c:crosses val="autoZero"/>
        <c:auto val="1"/>
        <c:lblAlgn val="ctr"/>
        <c:lblOffset val="100"/>
        <c:noMultiLvlLbl val="0"/>
      </c:catAx>
      <c:valAx>
        <c:axId val="152736832"/>
        <c:scaling>
          <c:orientation val="minMax"/>
        </c:scaling>
        <c:delete val="1"/>
        <c:axPos val="t"/>
        <c:numFmt formatCode="#,##0.0" sourceLinked="1"/>
        <c:majorTickMark val="out"/>
        <c:minorTickMark val="none"/>
        <c:tickLblPos val="nextTo"/>
        <c:crossAx val="131011072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0326976742985334"/>
          <c:y val="9.9720028095389948E-2"/>
          <c:w val="0.79673023257014663"/>
          <c:h val="0.8333797627397036"/>
        </c:manualLayout>
      </c:layout>
      <c:barChart>
        <c:barDir val="bar"/>
        <c:grouping val="clustered"/>
        <c:varyColors val="0"/>
        <c:ser>
          <c:idx val="0"/>
          <c:order val="0"/>
          <c:spPr>
            <a:gradFill rotWithShape="1">
              <a:gsLst>
                <a:gs pos="0">
                  <a:schemeClr val="accent6">
                    <a:tint val="100000"/>
                    <a:shade val="100000"/>
                    <a:satMod val="130000"/>
                  </a:schemeClr>
                </a:gs>
                <a:gs pos="100000">
                  <a:schemeClr val="accent6">
                    <a:tint val="50000"/>
                    <a:shade val="100000"/>
                    <a:satMod val="350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Pt>
            <c:idx val="0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Lbls>
            <c:dLbl>
              <c:idx val="0"/>
              <c:spPr/>
              <c:txPr>
                <a:bodyPr/>
                <a:lstStyle/>
                <a:p>
                  <a:pPr>
                    <a:defRPr sz="1100" b="1">
                      <a:solidFill>
                        <a:srgbClr val="C00000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пл!$A$3:$A$5</c:f>
              <c:strCache>
                <c:ptCount val="3"/>
                <c:pt idx="0">
                  <c:v>ОАО ФГК</c:v>
                </c:pt>
                <c:pt idx="1">
                  <c:v>ОАО ПГК</c:v>
                </c:pt>
                <c:pt idx="2">
                  <c:v>ОАО ХК НОВОТРАНС</c:v>
                </c:pt>
              </c:strCache>
            </c:strRef>
          </c:cat>
          <c:val>
            <c:numRef>
              <c:f>пл!$B$3:$B$5</c:f>
              <c:numCache>
                <c:formatCode>#,##0.0</c:formatCode>
                <c:ptCount val="3"/>
                <c:pt idx="0">
                  <c:v>9.7530000000000001</c:v>
                </c:pt>
                <c:pt idx="1">
                  <c:v>3.2749999999999999</c:v>
                </c:pt>
                <c:pt idx="2">
                  <c:v>0.5570000000000000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8"/>
        <c:axId val="131012096"/>
        <c:axId val="152737984"/>
      </c:barChart>
      <c:catAx>
        <c:axId val="131012096"/>
        <c:scaling>
          <c:orientation val="maxMin"/>
        </c:scaling>
        <c:delete val="0"/>
        <c:axPos val="l"/>
        <c:majorTickMark val="out"/>
        <c:minorTickMark val="none"/>
        <c:tickLblPos val="none"/>
        <c:crossAx val="152737984"/>
        <c:crosses val="autoZero"/>
        <c:auto val="1"/>
        <c:lblAlgn val="ctr"/>
        <c:lblOffset val="100"/>
        <c:noMultiLvlLbl val="0"/>
      </c:catAx>
      <c:valAx>
        <c:axId val="152737984"/>
        <c:scaling>
          <c:orientation val="minMax"/>
        </c:scaling>
        <c:delete val="1"/>
        <c:axPos val="t"/>
        <c:numFmt formatCode="#,##0.0" sourceLinked="1"/>
        <c:majorTickMark val="out"/>
        <c:minorTickMark val="none"/>
        <c:tickLblPos val="nextTo"/>
        <c:crossAx val="131012096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6089438113895647E-2"/>
          <c:y val="5.2615740505344621E-2"/>
          <c:w val="0.89043162421867839"/>
          <c:h val="0.80388678538916991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FF990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Pt>
            <c:idx val="4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cat>
            <c:strRef>
              <c:f>цс!$A$3:$A$7</c:f>
              <c:strCache>
                <c:ptCount val="5"/>
                <c:pt idx="0">
                  <c:v>ОАО ПГК </c:v>
                </c:pt>
                <c:pt idx="1">
                  <c:v>ООО Трансойл </c:v>
                </c:pt>
                <c:pt idx="2">
                  <c:v>ЗАО НефтеТрансСервис </c:v>
                </c:pt>
                <c:pt idx="3">
                  <c:v>…</c:v>
                </c:pt>
                <c:pt idx="4">
                  <c:v>ОАО ФГК</c:v>
                </c:pt>
              </c:strCache>
            </c:strRef>
          </c:cat>
          <c:val>
            <c:numRef>
              <c:f>цс!$B$3:$B$7</c:f>
              <c:numCache>
                <c:formatCode>#,##0</c:formatCode>
                <c:ptCount val="5"/>
                <c:pt idx="0">
                  <c:v>51.784999999999997</c:v>
                </c:pt>
                <c:pt idx="1">
                  <c:v>29.699000000000002</c:v>
                </c:pt>
                <c:pt idx="2">
                  <c:v>16.477</c:v>
                </c:pt>
                <c:pt idx="4">
                  <c:v>4.458999999999999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4"/>
        <c:axId val="131012608"/>
        <c:axId val="153837568"/>
      </c:barChart>
      <c:catAx>
        <c:axId val="131012608"/>
        <c:scaling>
          <c:orientation val="maxMin"/>
        </c:scaling>
        <c:delete val="0"/>
        <c:axPos val="l"/>
        <c:majorTickMark val="out"/>
        <c:minorTickMark val="none"/>
        <c:tickLblPos val="none"/>
        <c:crossAx val="153837568"/>
        <c:crosses val="autoZero"/>
        <c:auto val="1"/>
        <c:lblAlgn val="ctr"/>
        <c:lblOffset val="100"/>
        <c:noMultiLvlLbl val="0"/>
      </c:catAx>
      <c:valAx>
        <c:axId val="153837568"/>
        <c:scaling>
          <c:orientation val="minMax"/>
        </c:scaling>
        <c:delete val="1"/>
        <c:axPos val="t"/>
        <c:numFmt formatCode="#,##0" sourceLinked="1"/>
        <c:majorTickMark val="out"/>
        <c:minorTickMark val="none"/>
        <c:tickLblPos val="nextTo"/>
        <c:crossAx val="131012608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</c:title>
    <c:autoTitleDeleted val="0"/>
    <c:view3D>
      <c:rotX val="30"/>
      <c:rotY val="26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"/>
          <c:y val="0.13251164807701396"/>
          <c:w val="1"/>
          <c:h val="0.72845131442922884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</c:strCache>
            </c:strRef>
          </c:tx>
          <c:spPr>
            <a:scene3d>
              <a:camera prst="orthographicFront"/>
              <a:lightRig rig="threePt" dir="t"/>
            </a:scene3d>
            <a:sp3d>
              <a:bevelT/>
            </a:sp3d>
          </c:spPr>
          <c:explosion val="26"/>
          <c:dPt>
            <c:idx val="0"/>
            <c:bubble3D val="0"/>
            <c:spPr>
              <a:gradFill rotWithShape="1">
                <a:gsLst>
                  <a:gs pos="0">
                    <a:schemeClr val="accent3">
                      <a:tint val="100000"/>
                      <a:shade val="100000"/>
                      <a:satMod val="130000"/>
                    </a:schemeClr>
                  </a:gs>
                  <a:gs pos="100000">
                    <a:schemeClr val="accent3">
                      <a:tint val="50000"/>
                      <a:shade val="100000"/>
                      <a:satMod val="350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1"/>
            <c:bubble3D val="0"/>
            <c:spPr>
              <a:solidFill>
                <a:srgbClr val="C00000"/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Pt>
            <c:idx val="2"/>
            <c:bubble3D val="0"/>
            <c:spPr>
              <a:pattFill prst="dkUpDiag">
                <a:fgClr>
                  <a:srgbClr val="FF0000"/>
                </a:fgClr>
                <a:bgClr>
                  <a:schemeClr val="bg1"/>
                </a:bgClr>
              </a:patt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Lbls>
            <c:dLbl>
              <c:idx val="0"/>
              <c:layout>
                <c:manualLayout>
                  <c:x val="-0.16148865016298677"/>
                  <c:y val="9.4166093700327511E-2"/>
                </c:manualLayout>
              </c:layout>
              <c:spPr/>
              <c:txPr>
                <a:bodyPr/>
                <a:lstStyle/>
                <a:p>
                  <a:pPr>
                    <a:defRPr sz="1400" b="1">
                      <a:solidFill>
                        <a:schemeClr val="tx1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0.1637002295152635"/>
                  <c:y val="-0.26846770064561248"/>
                </c:manualLayout>
              </c:layout>
              <c:spPr/>
              <c:txPr>
                <a:bodyPr/>
                <a:lstStyle/>
                <a:p>
                  <a:pPr>
                    <a:defRPr sz="1400" b="1"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</c:dLbls>
          <c:cat>
            <c:numRef>
              <c:f>Лист1!$A$2:$A$5</c:f>
              <c:numCache>
                <c:formatCode>General</c:formatCode>
                <c:ptCount val="4"/>
              </c:numCache>
            </c:numRef>
          </c:cat>
          <c:val>
            <c:numRef>
              <c:f>Лист1!$B$2:$B$5</c:f>
              <c:numCache>
                <c:formatCode>0%</c:formatCode>
                <c:ptCount val="4"/>
                <c:pt idx="0">
                  <c:v>0.76</c:v>
                </c:pt>
                <c:pt idx="1">
                  <c:v>0.2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6400" cy="49418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3"/>
            <a:ext cx="2946400" cy="49418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3AAB585-04C0-4249-AF02-875A1F365F65}" type="datetimeFigureOut">
              <a:rPr lang="ru-RU" smtClean="0"/>
              <a:t>22.04.201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378488"/>
            <a:ext cx="2946400" cy="4941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378488"/>
            <a:ext cx="2946400" cy="4941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E1BF34-B353-42AF-9277-21EC4E872F7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811426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7" y="4"/>
            <a:ext cx="2945659" cy="4937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50" y="4"/>
            <a:ext cx="2945659" cy="4937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8E5786-626C-4FD2-B2F2-A5FBF8DF94EF}" type="datetimeFigureOut">
              <a:rPr lang="ru-RU" smtClean="0"/>
              <a:t>22.04.201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739775"/>
            <a:ext cx="5359400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7" y="9378828"/>
            <a:ext cx="2945659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50" y="9378828"/>
            <a:ext cx="2945659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5AD08F-B318-4546-9884-2B7C0B4EE3B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7033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7923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89614" algn="l" defTabSz="97923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79231" algn="l" defTabSz="97923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468843" algn="l" defTabSz="97923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958458" algn="l" defTabSz="97923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448073" algn="l" defTabSz="97923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937686" algn="l" defTabSz="97923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427298" algn="l" defTabSz="97923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916913" algn="l" defTabSz="97923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9138" y="739775"/>
            <a:ext cx="5359400" cy="37036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FF212B-1FC5-4990-B606-1AD0423D30F1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653197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9138" y="739775"/>
            <a:ext cx="5359400" cy="37036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FF212B-1FC5-4990-B606-1AD0423D30F1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653197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9138" y="739775"/>
            <a:ext cx="5359400" cy="37036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7729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81" y="8626"/>
            <a:ext cx="10382400" cy="7164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18734" y="1906960"/>
            <a:ext cx="8330654" cy="1224136"/>
          </a:xfrm>
          <a:prstGeom prst="rect">
            <a:avLst/>
          </a:prstGeom>
        </p:spPr>
        <p:txBody>
          <a:bodyPr wrap="square" lIns="87033" tIns="43518" rIns="87033" bIns="43518">
            <a:noAutofit/>
          </a:bodyPr>
          <a:lstStyle>
            <a:lvl1pPr marL="0" marR="0" indent="0" defTabSz="48956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/>
              <a:defRPr sz="25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 dirty="0" smtClean="0"/>
              <a:t/>
            </a:r>
            <a:br>
              <a:rPr lang="ru-RU" noProof="0" dirty="0" smtClean="0"/>
            </a:br>
            <a:r>
              <a:rPr lang="ru-RU" noProof="0" dirty="0" smtClean="0"/>
              <a:t>Образец заголовка</a:t>
            </a:r>
            <a:br>
              <a:rPr lang="ru-RU" noProof="0" dirty="0" smtClean="0"/>
            </a:b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18734" y="3131096"/>
            <a:ext cx="8330654" cy="601733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89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79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686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582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478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373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26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165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1023353" y="6526940"/>
            <a:ext cx="4755157" cy="312860"/>
          </a:xfrm>
        </p:spPr>
        <p:txBody>
          <a:bodyPr bIns="48597" anchor="t" anchorCtr="0">
            <a:noAutofit/>
          </a:bodyPr>
          <a:lstStyle>
            <a:lvl1pPr>
              <a:buNone/>
              <a:defRPr sz="1300" baseline="0"/>
            </a:lvl1pPr>
          </a:lstStyle>
          <a:p>
            <a:pPr lvl="0"/>
            <a:r>
              <a:rPr lang="ru-RU" dirty="0" smtClean="0"/>
              <a:t>Место, дата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2" hasCustomPrompt="1"/>
          </p:nvPr>
        </p:nvSpPr>
        <p:spPr>
          <a:xfrm>
            <a:off x="1020920" y="4424819"/>
            <a:ext cx="8332639" cy="375863"/>
          </a:xfrm>
        </p:spPr>
        <p:txBody>
          <a:bodyPr wrap="square">
            <a:sp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ru-RU" dirty="0" smtClean="0"/>
              <a:t>Докладч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63849279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ополнительные материал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81" y="8626"/>
            <a:ext cx="10382400" cy="7164000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1020162" y="3337807"/>
            <a:ext cx="7597533" cy="436697"/>
          </a:xfrm>
          <a:prstGeom prst="rect">
            <a:avLst/>
          </a:prstGeom>
          <a:noFill/>
        </p:spPr>
        <p:txBody>
          <a:bodyPr wrap="square" lIns="92776" tIns="48597" rIns="92776" bIns="48597" rtlCol="0">
            <a:spAutoFit/>
          </a:bodyPr>
          <a:lstStyle/>
          <a:p>
            <a:r>
              <a:rPr lang="ru-RU" sz="2200" dirty="0" smtClean="0"/>
              <a:t>Дополнительные</a:t>
            </a:r>
            <a:r>
              <a:rPr lang="ru-RU" sz="2200" baseline="0" dirty="0" smtClean="0"/>
              <a:t> материалы</a:t>
            </a:r>
            <a:endParaRPr lang="ru-RU" sz="2200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1018733" y="2186329"/>
            <a:ext cx="7595723" cy="487995"/>
          </a:xfrm>
          <a:prstGeom prst="rect">
            <a:avLst/>
          </a:prstGeom>
        </p:spPr>
        <p:txBody>
          <a:bodyPr wrap="square" lIns="87033" tIns="43518" rIns="87033" bIns="43518">
            <a:spAutoFit/>
          </a:bodyPr>
          <a:lstStyle>
            <a:lvl1pPr marL="0" marR="0" indent="0" defTabSz="48956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/>
              <a:defRPr sz="25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 dirty="0" smtClean="0"/>
              <a:t>Образец заголовка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84894516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ключ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81" y="8626"/>
            <a:ext cx="10382400" cy="7164000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938503" y="2579194"/>
            <a:ext cx="7104339" cy="544419"/>
          </a:xfrm>
          <a:prstGeom prst="rect">
            <a:avLst/>
          </a:prstGeom>
          <a:noFill/>
        </p:spPr>
        <p:txBody>
          <a:bodyPr wrap="square" lIns="92776" tIns="48597" rIns="92776" bIns="48597" rtlCol="0">
            <a:spAutoFit/>
          </a:bodyPr>
          <a:lstStyle/>
          <a:p>
            <a:r>
              <a:rPr lang="ru-RU" sz="2900" dirty="0" smtClean="0"/>
              <a:t>Спасибо за внимание!</a:t>
            </a:r>
            <a:endParaRPr lang="ru-RU" sz="2900" dirty="0"/>
          </a:p>
        </p:txBody>
      </p:sp>
    </p:spTree>
    <p:extLst>
      <p:ext uri="{BB962C8B-B14F-4D97-AF65-F5344CB8AC3E}">
        <p14:creationId xmlns:p14="http://schemas.microsoft.com/office/powerpoint/2010/main" val="1649340935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18479" y="326712"/>
            <a:ext cx="6819973" cy="469333"/>
          </a:xfrm>
          <a:prstGeom prst="rect">
            <a:avLst/>
          </a:prstGeom>
        </p:spPr>
        <p:txBody>
          <a:bodyPr lIns="112215" tIns="56108" rIns="112215" bIns="56108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150423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6" y="0"/>
            <a:ext cx="10367524" cy="716578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18728" y="2186325"/>
            <a:ext cx="6253607" cy="786159"/>
          </a:xfrm>
          <a:prstGeom prst="rect">
            <a:avLst/>
          </a:prstGeom>
        </p:spPr>
        <p:txBody>
          <a:bodyPr lIns="89012" tIns="44506" rIns="89012" bIns="44506"/>
          <a:lstStyle>
            <a:lvl1pPr marL="0" marR="0" indent="0" defTabSz="50068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/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 smtClean="0"/>
              <a:t>Образец заголовка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18728" y="2905177"/>
            <a:ext cx="6253607" cy="1182198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5006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013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020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027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03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041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048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05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1023349" y="6515973"/>
            <a:ext cx="4755157" cy="312863"/>
          </a:xfrm>
        </p:spPr>
        <p:txBody>
          <a:bodyPr anchor="b">
            <a:normAutofit/>
          </a:bodyPr>
          <a:lstStyle>
            <a:lvl1pPr>
              <a:buNone/>
              <a:defRPr sz="1100" baseline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812555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6963" y="1349945"/>
            <a:ext cx="9673131" cy="5127705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1520581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6963" y="1349945"/>
            <a:ext cx="9673131" cy="5127709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25523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6959" y="1349945"/>
            <a:ext cx="8045689" cy="5127705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0" name="Text Placeholder 3"/>
          <p:cNvSpPr>
            <a:spLocks noGrp="1"/>
          </p:cNvSpPr>
          <p:nvPr>
            <p:ph type="body" sz="half" idx="2"/>
          </p:nvPr>
        </p:nvSpPr>
        <p:spPr>
          <a:xfrm>
            <a:off x="8457191" y="949323"/>
            <a:ext cx="1492901" cy="5528328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accent6"/>
                </a:solidFill>
              </a:defRPr>
            </a:lvl1pPr>
            <a:lvl2pPr marL="500689" indent="0">
              <a:buNone/>
              <a:defRPr sz="1300"/>
            </a:lvl2pPr>
            <a:lvl3pPr marL="1001380" indent="0">
              <a:buNone/>
              <a:defRPr sz="1100"/>
            </a:lvl3pPr>
            <a:lvl4pPr marL="1502068" indent="0">
              <a:buNone/>
              <a:defRPr sz="1000"/>
            </a:lvl4pPr>
            <a:lvl5pPr marL="2002756" indent="0">
              <a:buNone/>
              <a:defRPr sz="1000"/>
            </a:lvl5pPr>
            <a:lvl6pPr marL="2503446" indent="0">
              <a:buNone/>
              <a:defRPr sz="1000"/>
            </a:lvl6pPr>
            <a:lvl7pPr marL="3004136" indent="0">
              <a:buNone/>
              <a:defRPr sz="1000"/>
            </a:lvl7pPr>
            <a:lvl8pPr marL="3504825" indent="0">
              <a:buNone/>
              <a:defRPr sz="1000"/>
            </a:lvl8pPr>
            <a:lvl9pPr marL="4005513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Title Placeholder 1"/>
          <p:cNvSpPr txBox="1">
            <a:spLocks/>
          </p:cNvSpPr>
          <p:nvPr userDrawn="1"/>
        </p:nvSpPr>
        <p:spPr>
          <a:xfrm>
            <a:off x="530208" y="432162"/>
            <a:ext cx="9688432" cy="420896"/>
          </a:xfrm>
          <a:prstGeom prst="rect">
            <a:avLst/>
          </a:prstGeom>
        </p:spPr>
        <p:txBody>
          <a:bodyPr lIns="89012" tIns="44506" rIns="89012" bIns="44506" rtlCol="0">
            <a:noAutofit/>
          </a:bodyPr>
          <a:lstStyle>
            <a:lvl1pPr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 kern="1200">
                <a:solidFill>
                  <a:schemeClr val="tx1"/>
                </a:solidFill>
                <a:latin typeface="+mj-lt"/>
                <a:ea typeface="ＭＳ Ｐゴシック" charset="-128"/>
                <a:cs typeface="ＭＳ Ｐゴシック" charset="-128"/>
              </a:defRPr>
            </a:lvl1pPr>
            <a:lvl2pPr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Verdana" charset="0"/>
                <a:ea typeface="ＭＳ Ｐゴシック" charset="-128"/>
                <a:cs typeface="ＭＳ Ｐゴシック" charset="-128"/>
              </a:defRPr>
            </a:lvl2pPr>
            <a:lvl3pPr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Verdana" charset="0"/>
                <a:ea typeface="ＭＳ Ｐゴシック" charset="-128"/>
                <a:cs typeface="ＭＳ Ｐゴシック" charset="-128"/>
              </a:defRPr>
            </a:lvl3pPr>
            <a:lvl4pPr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Verdana" charset="0"/>
                <a:ea typeface="ＭＳ Ｐゴシック" charset="-128"/>
                <a:cs typeface="ＭＳ Ｐゴシック" charset="-128"/>
              </a:defRPr>
            </a:lvl4pPr>
            <a:lvl5pPr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Verdana" charset="0"/>
                <a:ea typeface="ＭＳ Ｐゴシック" charset="-128"/>
                <a:cs typeface="ＭＳ Ｐゴシック" charset="-128"/>
              </a:defRPr>
            </a:lvl5pPr>
            <a:lvl6pPr marL="514350"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Verdana" charset="0"/>
                <a:ea typeface="ＭＳ Ｐゴシック" charset="-128"/>
                <a:cs typeface="ＭＳ Ｐゴシック" charset="-128"/>
              </a:defRPr>
            </a:lvl6pPr>
            <a:lvl7pPr marL="1028700"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Verdana" charset="0"/>
                <a:ea typeface="ＭＳ Ｐゴシック" charset="-128"/>
                <a:cs typeface="ＭＳ Ｐゴシック" charset="-128"/>
              </a:defRPr>
            </a:lvl7pPr>
            <a:lvl8pPr marL="1543050"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Verdana" charset="0"/>
                <a:ea typeface="ＭＳ Ｐゴシック" charset="-128"/>
                <a:cs typeface="ＭＳ Ｐゴシック" charset="-128"/>
              </a:defRPr>
            </a:lvl8pPr>
            <a:lvl9pPr marL="2057400"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Verdana" charset="0"/>
                <a:ea typeface="ＭＳ Ｐゴシック" charset="-128"/>
                <a:cs typeface="ＭＳ Ｐゴシック" charset="-128"/>
              </a:defRPr>
            </a:lvl9pPr>
          </a:lstStyle>
          <a:p>
            <a:r>
              <a:rPr lang="ru-RU" sz="2200" dirty="0" smtClean="0">
                <a:solidFill>
                  <a:prstClr val="black"/>
                </a:solidFill>
              </a:rPr>
              <a:t>Образец заголовка</a:t>
            </a:r>
            <a:endParaRPr lang="en-US" sz="2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13531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6959" y="1349946"/>
            <a:ext cx="8045689" cy="4298289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130" name="Text Placeholder 3"/>
          <p:cNvSpPr>
            <a:spLocks noGrp="1"/>
          </p:cNvSpPr>
          <p:nvPr>
            <p:ph type="body" sz="half" idx="2"/>
          </p:nvPr>
        </p:nvSpPr>
        <p:spPr>
          <a:xfrm>
            <a:off x="8457191" y="1962404"/>
            <a:ext cx="1492901" cy="4515244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accent6"/>
                </a:solidFill>
              </a:defRPr>
            </a:lvl1pPr>
            <a:lvl2pPr marL="500689" indent="0">
              <a:buNone/>
              <a:defRPr sz="1300"/>
            </a:lvl2pPr>
            <a:lvl3pPr marL="1001380" indent="0">
              <a:buNone/>
              <a:defRPr sz="1100"/>
            </a:lvl3pPr>
            <a:lvl4pPr marL="1502068" indent="0">
              <a:buNone/>
              <a:defRPr sz="1000"/>
            </a:lvl4pPr>
            <a:lvl5pPr marL="2002756" indent="0">
              <a:buNone/>
              <a:defRPr sz="1000"/>
            </a:lvl5pPr>
            <a:lvl6pPr marL="2503446" indent="0">
              <a:buNone/>
              <a:defRPr sz="1000"/>
            </a:lvl6pPr>
            <a:lvl7pPr marL="3004136" indent="0">
              <a:buNone/>
              <a:defRPr sz="1000"/>
            </a:lvl7pPr>
            <a:lvl8pPr marL="3504825" indent="0">
              <a:buNone/>
              <a:defRPr sz="1000"/>
            </a:lvl8pPr>
            <a:lvl9pPr marL="4005513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Title Placeholder 1"/>
          <p:cNvSpPr txBox="1">
            <a:spLocks/>
          </p:cNvSpPr>
          <p:nvPr userDrawn="1"/>
        </p:nvSpPr>
        <p:spPr>
          <a:xfrm>
            <a:off x="530208" y="432162"/>
            <a:ext cx="9688432" cy="420896"/>
          </a:xfrm>
          <a:prstGeom prst="rect">
            <a:avLst/>
          </a:prstGeom>
        </p:spPr>
        <p:txBody>
          <a:bodyPr lIns="89012" tIns="44506" rIns="89012" bIns="44506" rtlCol="0">
            <a:noAutofit/>
          </a:bodyPr>
          <a:lstStyle>
            <a:lvl1pPr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 kern="1200">
                <a:solidFill>
                  <a:schemeClr val="tx1"/>
                </a:solidFill>
                <a:latin typeface="+mj-lt"/>
                <a:ea typeface="ＭＳ Ｐゴシック" charset="-128"/>
                <a:cs typeface="ＭＳ Ｐゴシック" charset="-128"/>
              </a:defRPr>
            </a:lvl1pPr>
            <a:lvl2pPr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Verdana" charset="0"/>
                <a:ea typeface="ＭＳ Ｐゴシック" charset="-128"/>
                <a:cs typeface="ＭＳ Ｐゴシック" charset="-128"/>
              </a:defRPr>
            </a:lvl2pPr>
            <a:lvl3pPr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Verdana" charset="0"/>
                <a:ea typeface="ＭＳ Ｐゴシック" charset="-128"/>
                <a:cs typeface="ＭＳ Ｐゴシック" charset="-128"/>
              </a:defRPr>
            </a:lvl3pPr>
            <a:lvl4pPr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Verdana" charset="0"/>
                <a:ea typeface="ＭＳ Ｐゴシック" charset="-128"/>
                <a:cs typeface="ＭＳ Ｐゴシック" charset="-128"/>
              </a:defRPr>
            </a:lvl4pPr>
            <a:lvl5pPr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Verdana" charset="0"/>
                <a:ea typeface="ＭＳ Ｐゴシック" charset="-128"/>
                <a:cs typeface="ＭＳ Ｐゴシック" charset="-128"/>
              </a:defRPr>
            </a:lvl5pPr>
            <a:lvl6pPr marL="514350"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Verdana" charset="0"/>
                <a:ea typeface="ＭＳ Ｐゴシック" charset="-128"/>
                <a:cs typeface="ＭＳ Ｐゴシック" charset="-128"/>
              </a:defRPr>
            </a:lvl6pPr>
            <a:lvl7pPr marL="1028700"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Verdana" charset="0"/>
                <a:ea typeface="ＭＳ Ｐゴシック" charset="-128"/>
                <a:cs typeface="ＭＳ Ｐゴシック" charset="-128"/>
              </a:defRPr>
            </a:lvl7pPr>
            <a:lvl8pPr marL="1543050"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Verdana" charset="0"/>
                <a:ea typeface="ＭＳ Ｐゴシック" charset="-128"/>
                <a:cs typeface="ＭＳ Ｐゴシック" charset="-128"/>
              </a:defRPr>
            </a:lvl8pPr>
            <a:lvl9pPr marL="2057400"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Verdana" charset="0"/>
                <a:ea typeface="ＭＳ Ｐゴシック" charset="-128"/>
                <a:cs typeface="ＭＳ Ｐゴシック" charset="-128"/>
              </a:defRPr>
            </a:lvl9pPr>
          </a:lstStyle>
          <a:p>
            <a:r>
              <a:rPr lang="ru-RU" sz="2200" dirty="0" smtClean="0">
                <a:solidFill>
                  <a:prstClr val="black"/>
                </a:solidFill>
              </a:rPr>
              <a:t>Образец заголовка</a:t>
            </a:r>
            <a:endParaRPr lang="en-US" sz="2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58160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68432" y="1874385"/>
            <a:ext cx="4770530" cy="4576890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0" indent="0">
              <a:buNone/>
              <a:defRPr sz="1800"/>
            </a:lvl2pPr>
            <a:lvl3pPr marL="0" indent="0">
              <a:buNone/>
              <a:defRPr sz="1800"/>
            </a:lvl3pPr>
            <a:lvl4pPr marL="0" indent="0">
              <a:buNone/>
              <a:defRPr sz="1800"/>
            </a:lvl4pPr>
            <a:lvl5pPr marL="0" indent="0">
              <a:buNone/>
              <a:defRPr sz="1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91175" y="1874385"/>
            <a:ext cx="4758917" cy="4576890"/>
          </a:xfrm>
        </p:spPr>
        <p:txBody>
          <a:bodyPr>
            <a:normAutofit/>
          </a:bodyPr>
          <a:lstStyle>
            <a:lvl1pPr marL="0" indent="0">
              <a:buFont typeface="Arial"/>
              <a:buNone/>
              <a:defRPr sz="1800"/>
            </a:lvl1pPr>
            <a:lvl2pPr marL="0" indent="0">
              <a:buFont typeface="Arial"/>
              <a:buNone/>
              <a:defRPr sz="1800"/>
            </a:lvl2pPr>
            <a:lvl3pPr marL="0" indent="0">
              <a:buFont typeface="Arial"/>
              <a:buNone/>
              <a:defRPr sz="1800"/>
            </a:lvl3pPr>
            <a:lvl4pPr marL="0" indent="0">
              <a:buFont typeface="Arial"/>
              <a:buNone/>
              <a:defRPr sz="1800"/>
            </a:lvl4pPr>
            <a:lvl5pPr marL="0" indent="0">
              <a:buFont typeface="Arial"/>
              <a:buNone/>
              <a:defRPr sz="1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Title Placeholder 1"/>
          <p:cNvSpPr txBox="1">
            <a:spLocks/>
          </p:cNvSpPr>
          <p:nvPr userDrawn="1"/>
        </p:nvSpPr>
        <p:spPr>
          <a:xfrm>
            <a:off x="530208" y="432162"/>
            <a:ext cx="9688432" cy="420896"/>
          </a:xfrm>
          <a:prstGeom prst="rect">
            <a:avLst/>
          </a:prstGeom>
        </p:spPr>
        <p:txBody>
          <a:bodyPr lIns="89012" tIns="44506" rIns="89012" bIns="44506" rtlCol="0">
            <a:noAutofit/>
          </a:bodyPr>
          <a:lstStyle>
            <a:lvl1pPr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 kern="1200">
                <a:solidFill>
                  <a:schemeClr val="tx1"/>
                </a:solidFill>
                <a:latin typeface="+mj-lt"/>
                <a:ea typeface="ＭＳ Ｐゴシック" charset="-128"/>
                <a:cs typeface="ＭＳ Ｐゴシック" charset="-128"/>
              </a:defRPr>
            </a:lvl1pPr>
            <a:lvl2pPr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Verdana" charset="0"/>
                <a:ea typeface="ＭＳ Ｐゴシック" charset="-128"/>
                <a:cs typeface="ＭＳ Ｐゴシック" charset="-128"/>
              </a:defRPr>
            </a:lvl2pPr>
            <a:lvl3pPr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Verdana" charset="0"/>
                <a:ea typeface="ＭＳ Ｐゴシック" charset="-128"/>
                <a:cs typeface="ＭＳ Ｐゴシック" charset="-128"/>
              </a:defRPr>
            </a:lvl3pPr>
            <a:lvl4pPr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Verdana" charset="0"/>
                <a:ea typeface="ＭＳ Ｐゴシック" charset="-128"/>
                <a:cs typeface="ＭＳ Ｐゴシック" charset="-128"/>
              </a:defRPr>
            </a:lvl4pPr>
            <a:lvl5pPr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Verdana" charset="0"/>
                <a:ea typeface="ＭＳ Ｐゴシック" charset="-128"/>
                <a:cs typeface="ＭＳ Ｐゴシック" charset="-128"/>
              </a:defRPr>
            </a:lvl5pPr>
            <a:lvl6pPr marL="514350"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Verdana" charset="0"/>
                <a:ea typeface="ＭＳ Ｐゴシック" charset="-128"/>
                <a:cs typeface="ＭＳ Ｐゴシック" charset="-128"/>
              </a:defRPr>
            </a:lvl6pPr>
            <a:lvl7pPr marL="1028700"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Verdana" charset="0"/>
                <a:ea typeface="ＭＳ Ｐゴシック" charset="-128"/>
                <a:cs typeface="ＭＳ Ｐゴシック" charset="-128"/>
              </a:defRPr>
            </a:lvl7pPr>
            <a:lvl8pPr marL="1543050"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Verdana" charset="0"/>
                <a:ea typeface="ＭＳ Ｐゴシック" charset="-128"/>
                <a:cs typeface="ＭＳ Ｐゴシック" charset="-128"/>
              </a:defRPr>
            </a:lvl8pPr>
            <a:lvl9pPr marL="2057400"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Verdana" charset="0"/>
                <a:ea typeface="ＭＳ Ｐゴシック" charset="-128"/>
                <a:cs typeface="ＭＳ Ｐゴシック" charset="-128"/>
              </a:defRPr>
            </a:lvl9pPr>
          </a:lstStyle>
          <a:p>
            <a:r>
              <a:rPr lang="ru-RU" sz="2200" dirty="0" smtClean="0">
                <a:solidFill>
                  <a:prstClr val="black"/>
                </a:solidFill>
              </a:rPr>
              <a:t>Образец заголовка</a:t>
            </a:r>
            <a:endParaRPr lang="en-US" sz="2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38910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68432" y="1883593"/>
            <a:ext cx="4770530" cy="456767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91175" y="1883593"/>
            <a:ext cx="4758917" cy="456767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6" name="Title Placeholder 1"/>
          <p:cNvSpPr txBox="1">
            <a:spLocks/>
          </p:cNvSpPr>
          <p:nvPr userDrawn="1"/>
        </p:nvSpPr>
        <p:spPr>
          <a:xfrm>
            <a:off x="530208" y="432162"/>
            <a:ext cx="9688432" cy="420896"/>
          </a:xfrm>
          <a:prstGeom prst="rect">
            <a:avLst/>
          </a:prstGeom>
        </p:spPr>
        <p:txBody>
          <a:bodyPr lIns="89012" tIns="44506" rIns="89012" bIns="44506" rtlCol="0">
            <a:noAutofit/>
          </a:bodyPr>
          <a:lstStyle>
            <a:lvl1pPr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 kern="1200">
                <a:solidFill>
                  <a:schemeClr val="tx1"/>
                </a:solidFill>
                <a:latin typeface="+mj-lt"/>
                <a:ea typeface="ＭＳ Ｐゴシック" charset="-128"/>
                <a:cs typeface="ＭＳ Ｐゴシック" charset="-128"/>
              </a:defRPr>
            </a:lvl1pPr>
            <a:lvl2pPr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Verdana" charset="0"/>
                <a:ea typeface="ＭＳ Ｐゴシック" charset="-128"/>
                <a:cs typeface="ＭＳ Ｐゴシック" charset="-128"/>
              </a:defRPr>
            </a:lvl2pPr>
            <a:lvl3pPr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Verdana" charset="0"/>
                <a:ea typeface="ＭＳ Ｐゴシック" charset="-128"/>
                <a:cs typeface="ＭＳ Ｐゴシック" charset="-128"/>
              </a:defRPr>
            </a:lvl3pPr>
            <a:lvl4pPr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Verdana" charset="0"/>
                <a:ea typeface="ＭＳ Ｐゴシック" charset="-128"/>
                <a:cs typeface="ＭＳ Ｐゴシック" charset="-128"/>
              </a:defRPr>
            </a:lvl4pPr>
            <a:lvl5pPr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Verdana" charset="0"/>
                <a:ea typeface="ＭＳ Ｐゴシック" charset="-128"/>
                <a:cs typeface="ＭＳ Ｐゴシック" charset="-128"/>
              </a:defRPr>
            </a:lvl5pPr>
            <a:lvl6pPr marL="514350"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Verdana" charset="0"/>
                <a:ea typeface="ＭＳ Ｐゴシック" charset="-128"/>
                <a:cs typeface="ＭＳ Ｐゴシック" charset="-128"/>
              </a:defRPr>
            </a:lvl6pPr>
            <a:lvl7pPr marL="1028700"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Verdana" charset="0"/>
                <a:ea typeface="ＭＳ Ｐゴシック" charset="-128"/>
                <a:cs typeface="ＭＳ Ｐゴシック" charset="-128"/>
              </a:defRPr>
            </a:lvl7pPr>
            <a:lvl8pPr marL="1543050"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Verdana" charset="0"/>
                <a:ea typeface="ＭＳ Ｐゴシック" charset="-128"/>
                <a:cs typeface="ＭＳ Ｐゴシック" charset="-128"/>
              </a:defRPr>
            </a:lvl8pPr>
            <a:lvl9pPr marL="2057400"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Verdana" charset="0"/>
                <a:ea typeface="ＭＳ Ｐゴシック" charset="-128"/>
                <a:cs typeface="ＭＳ Ｐゴシック" charset="-128"/>
              </a:defRPr>
            </a:lvl9pPr>
          </a:lstStyle>
          <a:p>
            <a:r>
              <a:rPr lang="ru-RU" sz="2200" dirty="0" smtClean="0">
                <a:solidFill>
                  <a:prstClr val="black"/>
                </a:solidFill>
              </a:rPr>
              <a:t>Образец заголовка</a:t>
            </a:r>
            <a:endParaRPr lang="en-US" sz="2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66278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боч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58796" y="72852"/>
            <a:ext cx="7653600" cy="953775"/>
          </a:xfrm>
          <a:prstGeom prst="rect">
            <a:avLst/>
          </a:prstGeom>
        </p:spPr>
        <p:txBody>
          <a:bodyPr lIns="36000" tIns="48597" rIns="72000" bIns="48597"/>
          <a:lstStyle>
            <a:lvl1pPr>
              <a:defRPr sz="2000" baseline="0"/>
            </a:lvl1pPr>
          </a:lstStyle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Образец</a:t>
            </a:r>
          </a:p>
        </p:txBody>
      </p:sp>
    </p:spTree>
    <p:extLst>
      <p:ext uri="{BB962C8B-B14F-4D97-AF65-F5344CB8AC3E}">
        <p14:creationId xmlns:p14="http://schemas.microsoft.com/office/powerpoint/2010/main" val="71540238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70863" y="1493962"/>
            <a:ext cx="7953589" cy="4958971"/>
          </a:xfrm>
        </p:spPr>
        <p:txBody>
          <a:bodyPr rtlCol="0">
            <a:normAutofit/>
          </a:bodyPr>
          <a:lstStyle>
            <a:lvl1pPr marL="0" indent="0">
              <a:buNone/>
              <a:defRPr sz="3500"/>
            </a:lvl1pPr>
            <a:lvl2pPr marL="500689" indent="0">
              <a:buNone/>
              <a:defRPr sz="3100"/>
            </a:lvl2pPr>
            <a:lvl3pPr marL="1001380" indent="0">
              <a:buNone/>
              <a:defRPr sz="2600"/>
            </a:lvl3pPr>
            <a:lvl4pPr marL="1502068" indent="0">
              <a:buNone/>
              <a:defRPr sz="2200"/>
            </a:lvl4pPr>
            <a:lvl5pPr marL="2002756" indent="0">
              <a:buNone/>
              <a:defRPr sz="2200"/>
            </a:lvl5pPr>
            <a:lvl6pPr marL="2503446" indent="0">
              <a:buNone/>
              <a:defRPr sz="2200"/>
            </a:lvl6pPr>
            <a:lvl7pPr marL="3004136" indent="0">
              <a:buNone/>
              <a:defRPr sz="2200"/>
            </a:lvl7pPr>
            <a:lvl8pPr marL="3504825" indent="0">
              <a:buNone/>
              <a:defRPr sz="2200"/>
            </a:lvl8pPr>
            <a:lvl9pPr marL="4005513" indent="0">
              <a:buNone/>
              <a:defRPr sz="22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57191" y="949326"/>
            <a:ext cx="1492901" cy="5503607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rgbClr val="0066A1"/>
                </a:solidFill>
              </a:defRPr>
            </a:lvl1pPr>
            <a:lvl2pPr marL="500689" indent="0">
              <a:buNone/>
              <a:defRPr sz="1300"/>
            </a:lvl2pPr>
            <a:lvl3pPr marL="1001380" indent="0">
              <a:buNone/>
              <a:defRPr sz="1100"/>
            </a:lvl3pPr>
            <a:lvl4pPr marL="1502068" indent="0">
              <a:buNone/>
              <a:defRPr sz="1000"/>
            </a:lvl4pPr>
            <a:lvl5pPr marL="2002756" indent="0">
              <a:buNone/>
              <a:defRPr sz="1000"/>
            </a:lvl5pPr>
            <a:lvl6pPr marL="2503446" indent="0">
              <a:buNone/>
              <a:defRPr sz="1000"/>
            </a:lvl6pPr>
            <a:lvl7pPr marL="3004136" indent="0">
              <a:buNone/>
              <a:defRPr sz="1000"/>
            </a:lvl7pPr>
            <a:lvl8pPr marL="3504825" indent="0">
              <a:buNone/>
              <a:defRPr sz="1000"/>
            </a:lvl8pPr>
            <a:lvl9pPr marL="4005513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Title Placeholder 1"/>
          <p:cNvSpPr txBox="1">
            <a:spLocks/>
          </p:cNvSpPr>
          <p:nvPr userDrawn="1"/>
        </p:nvSpPr>
        <p:spPr>
          <a:xfrm>
            <a:off x="530208" y="432162"/>
            <a:ext cx="9688432" cy="420896"/>
          </a:xfrm>
          <a:prstGeom prst="rect">
            <a:avLst/>
          </a:prstGeom>
        </p:spPr>
        <p:txBody>
          <a:bodyPr lIns="89012" tIns="44506" rIns="89012" bIns="44506" rtlCol="0">
            <a:noAutofit/>
          </a:bodyPr>
          <a:lstStyle>
            <a:lvl1pPr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 kern="1200">
                <a:solidFill>
                  <a:schemeClr val="tx1"/>
                </a:solidFill>
                <a:latin typeface="+mj-lt"/>
                <a:ea typeface="ＭＳ Ｐゴシック" charset="-128"/>
                <a:cs typeface="ＭＳ Ｐゴシック" charset="-128"/>
              </a:defRPr>
            </a:lvl1pPr>
            <a:lvl2pPr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Verdana" charset="0"/>
                <a:ea typeface="ＭＳ Ｐゴシック" charset="-128"/>
                <a:cs typeface="ＭＳ Ｐゴシック" charset="-128"/>
              </a:defRPr>
            </a:lvl2pPr>
            <a:lvl3pPr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Verdana" charset="0"/>
                <a:ea typeface="ＭＳ Ｐゴシック" charset="-128"/>
                <a:cs typeface="ＭＳ Ｐゴシック" charset="-128"/>
              </a:defRPr>
            </a:lvl3pPr>
            <a:lvl4pPr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Verdana" charset="0"/>
                <a:ea typeface="ＭＳ Ｐゴシック" charset="-128"/>
                <a:cs typeface="ＭＳ Ｐゴシック" charset="-128"/>
              </a:defRPr>
            </a:lvl4pPr>
            <a:lvl5pPr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Verdana" charset="0"/>
                <a:ea typeface="ＭＳ Ｐゴシック" charset="-128"/>
                <a:cs typeface="ＭＳ Ｐゴシック" charset="-128"/>
              </a:defRPr>
            </a:lvl5pPr>
            <a:lvl6pPr marL="514350"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Verdana" charset="0"/>
                <a:ea typeface="ＭＳ Ｐゴシック" charset="-128"/>
                <a:cs typeface="ＭＳ Ｐゴシック" charset="-128"/>
              </a:defRPr>
            </a:lvl6pPr>
            <a:lvl7pPr marL="1028700"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Verdana" charset="0"/>
                <a:ea typeface="ＭＳ Ｐゴシック" charset="-128"/>
                <a:cs typeface="ＭＳ Ｐゴシック" charset="-128"/>
              </a:defRPr>
            </a:lvl7pPr>
            <a:lvl8pPr marL="1543050"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Verdana" charset="0"/>
                <a:ea typeface="ＭＳ Ｐゴシック" charset="-128"/>
                <a:cs typeface="ＭＳ Ｐゴシック" charset="-128"/>
              </a:defRPr>
            </a:lvl8pPr>
            <a:lvl9pPr marL="2057400"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Verdana" charset="0"/>
                <a:ea typeface="ＭＳ Ｐゴシック" charset="-128"/>
                <a:cs typeface="ＭＳ Ｐゴシック" charset="-128"/>
              </a:defRPr>
            </a:lvl9pPr>
          </a:lstStyle>
          <a:p>
            <a:r>
              <a:rPr lang="ru-RU" sz="2200" dirty="0" smtClean="0">
                <a:solidFill>
                  <a:prstClr val="black"/>
                </a:solidFill>
              </a:rPr>
              <a:t>Образец заголовка</a:t>
            </a:r>
            <a:endParaRPr lang="en-US" sz="2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04873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70860" y="1789443"/>
            <a:ext cx="4678900" cy="3947049"/>
          </a:xfrm>
        </p:spPr>
        <p:txBody>
          <a:bodyPr rtlCol="0">
            <a:normAutofit/>
          </a:bodyPr>
          <a:lstStyle>
            <a:lvl1pPr marL="0" indent="0">
              <a:buNone/>
              <a:defRPr sz="3500"/>
            </a:lvl1pPr>
            <a:lvl2pPr marL="500689" indent="0">
              <a:buNone/>
              <a:defRPr sz="3100"/>
            </a:lvl2pPr>
            <a:lvl3pPr marL="1001380" indent="0">
              <a:buNone/>
              <a:defRPr sz="2600"/>
            </a:lvl3pPr>
            <a:lvl4pPr marL="1502068" indent="0">
              <a:buNone/>
              <a:defRPr sz="2200"/>
            </a:lvl4pPr>
            <a:lvl5pPr marL="2002756" indent="0">
              <a:buNone/>
              <a:defRPr sz="2200"/>
            </a:lvl5pPr>
            <a:lvl6pPr marL="2503446" indent="0">
              <a:buNone/>
              <a:defRPr sz="2200"/>
            </a:lvl6pPr>
            <a:lvl7pPr marL="3004136" indent="0">
              <a:buNone/>
              <a:defRPr sz="2200"/>
            </a:lvl7pPr>
            <a:lvl8pPr marL="3504825" indent="0">
              <a:buNone/>
              <a:defRPr sz="2200"/>
            </a:lvl8pPr>
            <a:lvl9pPr marL="4005513" indent="0">
              <a:buNone/>
              <a:defRPr sz="22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60037" y="5909879"/>
            <a:ext cx="4778921" cy="718097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rgbClr val="0066A1"/>
                </a:solidFill>
              </a:defRPr>
            </a:lvl1pPr>
            <a:lvl2pPr marL="500689" indent="0">
              <a:buNone/>
              <a:defRPr sz="1300"/>
            </a:lvl2pPr>
            <a:lvl3pPr marL="1001380" indent="0">
              <a:buNone/>
              <a:defRPr sz="1100"/>
            </a:lvl3pPr>
            <a:lvl4pPr marL="1502068" indent="0">
              <a:buNone/>
              <a:defRPr sz="1000"/>
            </a:lvl4pPr>
            <a:lvl5pPr marL="2002756" indent="0">
              <a:buNone/>
              <a:defRPr sz="1000"/>
            </a:lvl5pPr>
            <a:lvl6pPr marL="2503446" indent="0">
              <a:buNone/>
              <a:defRPr sz="1000"/>
            </a:lvl6pPr>
            <a:lvl7pPr marL="3004136" indent="0">
              <a:buNone/>
              <a:defRPr sz="1000"/>
            </a:lvl7pPr>
            <a:lvl8pPr marL="3504825" indent="0">
              <a:buNone/>
              <a:defRPr sz="1000"/>
            </a:lvl8pPr>
            <a:lvl9pPr marL="4005513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1" name="Picture Placeholder 2"/>
          <p:cNvSpPr>
            <a:spLocks noGrp="1"/>
          </p:cNvSpPr>
          <p:nvPr>
            <p:ph type="pic" idx="10"/>
          </p:nvPr>
        </p:nvSpPr>
        <p:spPr>
          <a:xfrm>
            <a:off x="5292794" y="1791102"/>
            <a:ext cx="4678900" cy="3947049"/>
          </a:xfrm>
        </p:spPr>
        <p:txBody>
          <a:bodyPr rtlCol="0">
            <a:normAutofit/>
          </a:bodyPr>
          <a:lstStyle>
            <a:lvl1pPr marL="0" indent="0">
              <a:buNone/>
              <a:defRPr sz="3500"/>
            </a:lvl1pPr>
            <a:lvl2pPr marL="500689" indent="0">
              <a:buNone/>
              <a:defRPr sz="3100"/>
            </a:lvl2pPr>
            <a:lvl3pPr marL="1001380" indent="0">
              <a:buNone/>
              <a:defRPr sz="2600"/>
            </a:lvl3pPr>
            <a:lvl4pPr marL="1502068" indent="0">
              <a:buNone/>
              <a:defRPr sz="2200"/>
            </a:lvl4pPr>
            <a:lvl5pPr marL="2002756" indent="0">
              <a:buNone/>
              <a:defRPr sz="2200"/>
            </a:lvl5pPr>
            <a:lvl6pPr marL="2503446" indent="0">
              <a:buNone/>
              <a:defRPr sz="2200"/>
            </a:lvl6pPr>
            <a:lvl7pPr marL="3004136" indent="0">
              <a:buNone/>
              <a:defRPr sz="2200"/>
            </a:lvl7pPr>
            <a:lvl8pPr marL="3504825" indent="0">
              <a:buNone/>
              <a:defRPr sz="2200"/>
            </a:lvl8pPr>
            <a:lvl9pPr marL="4005513" indent="0">
              <a:buNone/>
              <a:defRPr sz="22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en-US" noProof="0"/>
          </a:p>
        </p:txBody>
      </p:sp>
      <p:sp>
        <p:nvSpPr>
          <p:cNvPr id="132" name="Text Placeholder 3"/>
          <p:cNvSpPr>
            <a:spLocks noGrp="1"/>
          </p:cNvSpPr>
          <p:nvPr>
            <p:ph type="body" sz="half" idx="11"/>
          </p:nvPr>
        </p:nvSpPr>
        <p:spPr>
          <a:xfrm>
            <a:off x="5181973" y="5902321"/>
            <a:ext cx="4778921" cy="718097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rgbClr val="0066A1"/>
                </a:solidFill>
              </a:defRPr>
            </a:lvl1pPr>
            <a:lvl2pPr marL="500689" indent="0">
              <a:buNone/>
              <a:defRPr sz="1300"/>
            </a:lvl2pPr>
            <a:lvl3pPr marL="1001380" indent="0">
              <a:buNone/>
              <a:defRPr sz="1100"/>
            </a:lvl3pPr>
            <a:lvl4pPr marL="1502068" indent="0">
              <a:buNone/>
              <a:defRPr sz="1000"/>
            </a:lvl4pPr>
            <a:lvl5pPr marL="2002756" indent="0">
              <a:buNone/>
              <a:defRPr sz="1000"/>
            </a:lvl5pPr>
            <a:lvl6pPr marL="2503446" indent="0">
              <a:buNone/>
              <a:defRPr sz="1000"/>
            </a:lvl6pPr>
            <a:lvl7pPr marL="3004136" indent="0">
              <a:buNone/>
              <a:defRPr sz="1000"/>
            </a:lvl7pPr>
            <a:lvl8pPr marL="3504825" indent="0">
              <a:buNone/>
              <a:defRPr sz="1000"/>
            </a:lvl8pPr>
            <a:lvl9pPr marL="4005513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Title Placeholder 1"/>
          <p:cNvSpPr txBox="1">
            <a:spLocks/>
          </p:cNvSpPr>
          <p:nvPr userDrawn="1"/>
        </p:nvSpPr>
        <p:spPr>
          <a:xfrm>
            <a:off x="530208" y="432162"/>
            <a:ext cx="9688432" cy="420896"/>
          </a:xfrm>
          <a:prstGeom prst="rect">
            <a:avLst/>
          </a:prstGeom>
        </p:spPr>
        <p:txBody>
          <a:bodyPr lIns="89012" tIns="44506" rIns="89012" bIns="44506" rtlCol="0">
            <a:noAutofit/>
          </a:bodyPr>
          <a:lstStyle>
            <a:lvl1pPr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 kern="1200">
                <a:solidFill>
                  <a:schemeClr val="tx1"/>
                </a:solidFill>
                <a:latin typeface="+mj-lt"/>
                <a:ea typeface="ＭＳ Ｐゴシック" charset="-128"/>
                <a:cs typeface="ＭＳ Ｐゴシック" charset="-128"/>
              </a:defRPr>
            </a:lvl1pPr>
            <a:lvl2pPr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Verdana" charset="0"/>
                <a:ea typeface="ＭＳ Ｐゴシック" charset="-128"/>
                <a:cs typeface="ＭＳ Ｐゴシック" charset="-128"/>
              </a:defRPr>
            </a:lvl2pPr>
            <a:lvl3pPr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Verdana" charset="0"/>
                <a:ea typeface="ＭＳ Ｐゴシック" charset="-128"/>
                <a:cs typeface="ＭＳ Ｐゴシック" charset="-128"/>
              </a:defRPr>
            </a:lvl3pPr>
            <a:lvl4pPr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Verdana" charset="0"/>
                <a:ea typeface="ＭＳ Ｐゴシック" charset="-128"/>
                <a:cs typeface="ＭＳ Ｐゴシック" charset="-128"/>
              </a:defRPr>
            </a:lvl4pPr>
            <a:lvl5pPr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Verdana" charset="0"/>
                <a:ea typeface="ＭＳ Ｐゴシック" charset="-128"/>
                <a:cs typeface="ＭＳ Ｐゴシック" charset="-128"/>
              </a:defRPr>
            </a:lvl5pPr>
            <a:lvl6pPr marL="514350"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Verdana" charset="0"/>
                <a:ea typeface="ＭＳ Ｐゴシック" charset="-128"/>
                <a:cs typeface="ＭＳ Ｐゴシック" charset="-128"/>
              </a:defRPr>
            </a:lvl6pPr>
            <a:lvl7pPr marL="1028700"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Verdana" charset="0"/>
                <a:ea typeface="ＭＳ Ｐゴシック" charset="-128"/>
                <a:cs typeface="ＭＳ Ｐゴシック" charset="-128"/>
              </a:defRPr>
            </a:lvl7pPr>
            <a:lvl8pPr marL="1543050"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Verdana" charset="0"/>
                <a:ea typeface="ＭＳ Ｐゴシック" charset="-128"/>
                <a:cs typeface="ＭＳ Ｐゴシック" charset="-128"/>
              </a:defRPr>
            </a:lvl8pPr>
            <a:lvl9pPr marL="2057400"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Verdana" charset="0"/>
                <a:ea typeface="ＭＳ Ｐゴシック" charset="-128"/>
                <a:cs typeface="ＭＳ Ｐゴシック" charset="-128"/>
              </a:defRPr>
            </a:lvl9pPr>
          </a:lstStyle>
          <a:p>
            <a:r>
              <a:rPr lang="ru-RU" sz="2200" dirty="0" smtClean="0">
                <a:solidFill>
                  <a:prstClr val="black"/>
                </a:solidFill>
              </a:rPr>
              <a:t>Образец заголовка</a:t>
            </a:r>
            <a:endParaRPr lang="en-US" sz="2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14048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 txBox="1">
            <a:spLocks/>
          </p:cNvSpPr>
          <p:nvPr userDrawn="1"/>
        </p:nvSpPr>
        <p:spPr>
          <a:xfrm>
            <a:off x="530208" y="432162"/>
            <a:ext cx="9688432" cy="420896"/>
          </a:xfrm>
          <a:prstGeom prst="rect">
            <a:avLst/>
          </a:prstGeom>
        </p:spPr>
        <p:txBody>
          <a:bodyPr lIns="89012" tIns="44506" rIns="89012" bIns="44506" rtlCol="0">
            <a:noAutofit/>
          </a:bodyPr>
          <a:lstStyle>
            <a:lvl1pPr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 kern="1200">
                <a:solidFill>
                  <a:schemeClr val="tx1"/>
                </a:solidFill>
                <a:latin typeface="+mj-lt"/>
                <a:ea typeface="ＭＳ Ｐゴシック" charset="-128"/>
                <a:cs typeface="ＭＳ Ｐゴシック" charset="-128"/>
              </a:defRPr>
            </a:lvl1pPr>
            <a:lvl2pPr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Verdana" charset="0"/>
                <a:ea typeface="ＭＳ Ｐゴシック" charset="-128"/>
                <a:cs typeface="ＭＳ Ｐゴシック" charset="-128"/>
              </a:defRPr>
            </a:lvl2pPr>
            <a:lvl3pPr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Verdana" charset="0"/>
                <a:ea typeface="ＭＳ Ｐゴシック" charset="-128"/>
                <a:cs typeface="ＭＳ Ｐゴシック" charset="-128"/>
              </a:defRPr>
            </a:lvl3pPr>
            <a:lvl4pPr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Verdana" charset="0"/>
                <a:ea typeface="ＭＳ Ｐゴシック" charset="-128"/>
                <a:cs typeface="ＭＳ Ｐゴシック" charset="-128"/>
              </a:defRPr>
            </a:lvl4pPr>
            <a:lvl5pPr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Verdana" charset="0"/>
                <a:ea typeface="ＭＳ Ｐゴシック" charset="-128"/>
                <a:cs typeface="ＭＳ Ｐゴシック" charset="-128"/>
              </a:defRPr>
            </a:lvl5pPr>
            <a:lvl6pPr marL="514350"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Verdana" charset="0"/>
                <a:ea typeface="ＭＳ Ｐゴシック" charset="-128"/>
                <a:cs typeface="ＭＳ Ｐゴシック" charset="-128"/>
              </a:defRPr>
            </a:lvl6pPr>
            <a:lvl7pPr marL="1028700"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Verdana" charset="0"/>
                <a:ea typeface="ＭＳ Ｐゴシック" charset="-128"/>
                <a:cs typeface="ＭＳ Ｐゴシック" charset="-128"/>
              </a:defRPr>
            </a:lvl7pPr>
            <a:lvl8pPr marL="1543050"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Verdana" charset="0"/>
                <a:ea typeface="ＭＳ Ｐゴシック" charset="-128"/>
                <a:cs typeface="ＭＳ Ｐゴシック" charset="-128"/>
              </a:defRPr>
            </a:lvl8pPr>
            <a:lvl9pPr marL="2057400" algn="l" defTabSz="514350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Verdana" charset="0"/>
                <a:ea typeface="ＭＳ Ｐゴシック" charset="-128"/>
                <a:cs typeface="ＭＳ Ｐゴシック" charset="-128"/>
              </a:defRPr>
            </a:lvl9pPr>
          </a:lstStyle>
          <a:p>
            <a:r>
              <a:rPr lang="ru-RU" sz="2200" dirty="0" smtClean="0">
                <a:solidFill>
                  <a:prstClr val="black"/>
                </a:solidFill>
              </a:rPr>
              <a:t>Образец заголовка</a:t>
            </a:r>
            <a:endParaRPr lang="en-US" sz="2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4932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1"/>
          <p:cNvSpPr/>
          <p:nvPr/>
        </p:nvSpPr>
        <p:spPr>
          <a:xfrm>
            <a:off x="2" y="9"/>
            <a:ext cx="10369550" cy="6777976"/>
          </a:xfrm>
          <a:prstGeom prst="rect">
            <a:avLst/>
          </a:prstGeom>
          <a:solidFill>
            <a:srgbClr val="BFC5C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0138" tIns="50069" rIns="100138" bIns="50069" anchor="ctr"/>
          <a:lstStyle/>
          <a:p>
            <a:pPr algn="ctr" defTabSz="1001480">
              <a:defRPr/>
            </a:pPr>
            <a:endParaRPr lang="en-US" sz="2000">
              <a:solidFill>
                <a:prstClr val="white"/>
              </a:solidFill>
            </a:endParaRPr>
          </a:p>
        </p:txBody>
      </p:sp>
      <p:sp>
        <p:nvSpPr>
          <p:cNvPr id="5" name="Rectangle 22"/>
          <p:cNvSpPr/>
          <p:nvPr/>
        </p:nvSpPr>
        <p:spPr>
          <a:xfrm>
            <a:off x="2" y="6789590"/>
            <a:ext cx="10369550" cy="37480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0138" tIns="50069" rIns="100138" bIns="50069" anchor="ctr"/>
          <a:lstStyle/>
          <a:p>
            <a:pPr algn="ctr" defTabSz="1001480">
              <a:defRPr/>
            </a:pPr>
            <a:endParaRPr lang="en-US" sz="2000">
              <a:solidFill>
                <a:prstClr val="white"/>
              </a:solidFill>
            </a:endParaRPr>
          </a:p>
        </p:txBody>
      </p:sp>
      <p:pic>
        <p:nvPicPr>
          <p:cNvPr id="6" name="Picture 17" descr="rzd_logo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0207" y="6801199"/>
            <a:ext cx="649898" cy="363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9003" y="2520646"/>
            <a:ext cx="8814118" cy="1567209"/>
          </a:xfrm>
        </p:spPr>
        <p:txBody>
          <a:bodyPr>
            <a:normAutofit/>
          </a:bodyPr>
          <a:lstStyle>
            <a:lvl1pPr marL="0" indent="0">
              <a:buNone/>
              <a:defRPr sz="2500">
                <a:solidFill>
                  <a:schemeClr val="tx1"/>
                </a:solidFill>
              </a:defRPr>
            </a:lvl1pPr>
            <a:lvl2pPr marL="5006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100138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02068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4pPr>
            <a:lvl5pPr marL="2002756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5pPr>
            <a:lvl6pPr marL="2503446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6pPr>
            <a:lvl7pPr marL="3004136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7pPr>
            <a:lvl8pPr marL="3504825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8pPr>
            <a:lvl9pPr marL="400551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211864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999446" y="6467852"/>
            <a:ext cx="2808420" cy="497527"/>
          </a:xfrm>
          <a:prstGeom prst="rect">
            <a:avLst/>
          </a:prstGeom>
        </p:spPr>
        <p:txBody>
          <a:bodyPr lIns="100148" tIns="50074" rIns="100148" bIns="50074"/>
          <a:lstStyle/>
          <a:p>
            <a:pPr defTabSz="1001480"/>
            <a:endParaRPr lang="en-US" sz="2000" dirty="0">
              <a:solidFill>
                <a:srgbClr val="696464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1036957" y="6447949"/>
            <a:ext cx="4493472" cy="477626"/>
          </a:xfrm>
          <a:prstGeom prst="rect">
            <a:avLst/>
          </a:prstGeom>
        </p:spPr>
        <p:txBody>
          <a:bodyPr lIns="100148" tIns="50074" rIns="100148" bIns="50074"/>
          <a:lstStyle/>
          <a:p>
            <a:pPr defTabSz="1001480"/>
            <a:r>
              <a:rPr lang="en-US" sz="2000" smtClean="0">
                <a:solidFill>
                  <a:srgbClr val="696464"/>
                </a:solidFill>
              </a:rPr>
              <a:t>2</a:t>
            </a:r>
            <a:endParaRPr lang="en-US" sz="2000" dirty="0">
              <a:solidFill>
                <a:srgbClr val="696464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65916" y="6487751"/>
            <a:ext cx="518477" cy="477626"/>
          </a:xfrm>
          <a:prstGeom prst="ellipse">
            <a:avLst/>
          </a:prstGeom>
        </p:spPr>
        <p:txBody>
          <a:bodyPr lIns="100148" tIns="50074" rIns="100148" bIns="50074"/>
          <a:lstStyle/>
          <a:p>
            <a:pPr defTabSz="1001480"/>
            <a:fld id="{6F42FDE4-A7DD-41A7-A0A6-9B649FB43336}" type="slidenum">
              <a:rPr lang="en-US" sz="2000" smtClean="0">
                <a:solidFill>
                  <a:prstClr val="black"/>
                </a:solidFill>
              </a:rPr>
              <a:pPr defTabSz="1001480"/>
              <a:t>‹#›</a:t>
            </a:fld>
            <a:endParaRPr lang="en-US" sz="2000" dirty="0">
              <a:solidFill>
                <a:prstClr val="black"/>
              </a:solidFill>
            </a:endParaRP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"/>
          </p:nvPr>
        </p:nvSpPr>
        <p:spPr>
          <a:xfrm>
            <a:off x="1036957" y="1512482"/>
            <a:ext cx="8814118" cy="4776259"/>
          </a:xfrm>
        </p:spPr>
        <p:txBody>
          <a:bodyPr vert="horz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28474554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6976" y="1262435"/>
            <a:ext cx="9673131" cy="521522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530211" y="282526"/>
            <a:ext cx="9688433" cy="420896"/>
          </a:xfrm>
          <a:prstGeom prst="rect">
            <a:avLst/>
          </a:prstGeom>
        </p:spPr>
        <p:txBody>
          <a:bodyPr lIns="87022" tIns="43513" rIns="87022" bIns="43513" rtlCol="0">
            <a:normAutofit/>
          </a:bodyPr>
          <a:lstStyle>
            <a:lvl1pPr>
              <a:defRPr sz="210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8669758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81" y="8626"/>
            <a:ext cx="10382400" cy="7164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18734" y="1906960"/>
            <a:ext cx="8330654" cy="1224136"/>
          </a:xfrm>
          <a:prstGeom prst="rect">
            <a:avLst/>
          </a:prstGeom>
        </p:spPr>
        <p:txBody>
          <a:bodyPr wrap="square" lIns="87033" tIns="43518" rIns="87033" bIns="43518">
            <a:noAutofit/>
          </a:bodyPr>
          <a:lstStyle>
            <a:lvl1pPr marL="0" marR="0" indent="0" defTabSz="48956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/>
              <a:defRPr sz="25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 dirty="0" smtClean="0"/>
              <a:t/>
            </a:r>
            <a:br>
              <a:rPr lang="ru-RU" noProof="0" dirty="0" smtClean="0"/>
            </a:br>
            <a:r>
              <a:rPr lang="ru-RU" noProof="0" dirty="0" smtClean="0"/>
              <a:t>Образец заголовка</a:t>
            </a:r>
            <a:br>
              <a:rPr lang="ru-RU" noProof="0" dirty="0" smtClean="0"/>
            </a:b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18734" y="3131096"/>
            <a:ext cx="8330654" cy="601733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89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79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686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582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478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373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26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165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1023353" y="6526940"/>
            <a:ext cx="4755157" cy="312860"/>
          </a:xfrm>
        </p:spPr>
        <p:txBody>
          <a:bodyPr bIns="48597" anchor="t" anchorCtr="0">
            <a:noAutofit/>
          </a:bodyPr>
          <a:lstStyle>
            <a:lvl1pPr>
              <a:buNone/>
              <a:defRPr sz="1300" baseline="0"/>
            </a:lvl1pPr>
          </a:lstStyle>
          <a:p>
            <a:pPr lvl="0"/>
            <a:r>
              <a:rPr lang="ru-RU" dirty="0" smtClean="0"/>
              <a:t>Место, дата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2" hasCustomPrompt="1"/>
          </p:nvPr>
        </p:nvSpPr>
        <p:spPr>
          <a:xfrm>
            <a:off x="1020920" y="4424819"/>
            <a:ext cx="8332639" cy="375863"/>
          </a:xfrm>
        </p:spPr>
        <p:txBody>
          <a:bodyPr wrap="square">
            <a:sp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ru-RU" dirty="0" smtClean="0"/>
              <a:t>Докладч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82700824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боч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58796" y="72852"/>
            <a:ext cx="7653600" cy="953775"/>
          </a:xfrm>
          <a:prstGeom prst="rect">
            <a:avLst/>
          </a:prstGeom>
        </p:spPr>
        <p:txBody>
          <a:bodyPr lIns="36000" tIns="48597" rIns="72000" bIns="48597"/>
          <a:lstStyle>
            <a:lvl1pPr>
              <a:defRPr sz="2000" baseline="0"/>
            </a:lvl1pPr>
          </a:lstStyle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Образец</a:t>
            </a:r>
          </a:p>
        </p:txBody>
      </p:sp>
    </p:spTree>
    <p:extLst>
      <p:ext uri="{BB962C8B-B14F-4D97-AF65-F5344CB8AC3E}">
        <p14:creationId xmlns:p14="http://schemas.microsoft.com/office/powerpoint/2010/main" val="173079315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бочий с элементами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6973" y="1262435"/>
            <a:ext cx="9673131" cy="521522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58796" y="72852"/>
            <a:ext cx="7653600" cy="953775"/>
          </a:xfrm>
          <a:prstGeom prst="rect">
            <a:avLst/>
          </a:prstGeom>
        </p:spPr>
        <p:txBody>
          <a:bodyPr lIns="36000" tIns="48597" rIns="72000" bIns="48597"/>
          <a:lstStyle>
            <a:lvl1pPr>
              <a:defRPr sz="2000" baseline="0"/>
            </a:lvl1pPr>
          </a:lstStyle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Образец</a:t>
            </a:r>
          </a:p>
        </p:txBody>
      </p:sp>
    </p:spTree>
    <p:extLst>
      <p:ext uri="{BB962C8B-B14F-4D97-AF65-F5344CB8AC3E}">
        <p14:creationId xmlns:p14="http://schemas.microsoft.com/office/powerpoint/2010/main" val="315271100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бочий с элементами_спис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6973" y="1262435"/>
            <a:ext cx="9673131" cy="52152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58796" y="72852"/>
            <a:ext cx="7653600" cy="953775"/>
          </a:xfrm>
          <a:prstGeom prst="rect">
            <a:avLst/>
          </a:prstGeom>
        </p:spPr>
        <p:txBody>
          <a:bodyPr lIns="36000" tIns="48597" rIns="72000" bIns="48597"/>
          <a:lstStyle>
            <a:lvl1pPr>
              <a:defRPr sz="2000" baseline="0"/>
            </a:lvl1pPr>
          </a:lstStyle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Образец</a:t>
            </a:r>
          </a:p>
        </p:txBody>
      </p:sp>
    </p:spTree>
    <p:extLst>
      <p:ext uri="{BB962C8B-B14F-4D97-AF65-F5344CB8AC3E}">
        <p14:creationId xmlns:p14="http://schemas.microsoft.com/office/powerpoint/2010/main" val="3661895697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бочий с элементами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6973" y="1262435"/>
            <a:ext cx="9673131" cy="521522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58796" y="72852"/>
            <a:ext cx="7653600" cy="953775"/>
          </a:xfrm>
          <a:prstGeom prst="rect">
            <a:avLst/>
          </a:prstGeom>
        </p:spPr>
        <p:txBody>
          <a:bodyPr lIns="36000" tIns="48597" rIns="72000" bIns="48597"/>
          <a:lstStyle>
            <a:lvl1pPr>
              <a:defRPr sz="2000" baseline="0"/>
            </a:lvl1pPr>
          </a:lstStyle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Образец</a:t>
            </a:r>
          </a:p>
        </p:txBody>
      </p:sp>
    </p:spTree>
    <p:extLst>
      <p:ext uri="{BB962C8B-B14F-4D97-AF65-F5344CB8AC3E}">
        <p14:creationId xmlns:p14="http://schemas.microsoft.com/office/powerpoint/2010/main" val="406919840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6970" y="1275293"/>
            <a:ext cx="8045689" cy="5146996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0" name="Text Placeholder 3"/>
          <p:cNvSpPr>
            <a:spLocks noGrp="1"/>
          </p:cNvSpPr>
          <p:nvPr>
            <p:ph type="body" sz="half" idx="2"/>
          </p:nvPr>
        </p:nvSpPr>
        <p:spPr>
          <a:xfrm>
            <a:off x="8457195" y="1275293"/>
            <a:ext cx="1492902" cy="514482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accent6"/>
                </a:solidFill>
              </a:defRPr>
            </a:lvl1pPr>
            <a:lvl2pPr marL="489564" indent="0">
              <a:buNone/>
              <a:defRPr sz="1200"/>
            </a:lvl2pPr>
            <a:lvl3pPr marL="979131" indent="0">
              <a:buNone/>
              <a:defRPr sz="1100"/>
            </a:lvl3pPr>
            <a:lvl4pPr marL="1468697" indent="0">
              <a:buNone/>
              <a:defRPr sz="1000"/>
            </a:lvl4pPr>
            <a:lvl5pPr marL="1958261" indent="0">
              <a:buNone/>
              <a:defRPr sz="1000"/>
            </a:lvl5pPr>
            <a:lvl6pPr marL="2447826" indent="0">
              <a:buNone/>
              <a:defRPr sz="1000"/>
            </a:lvl6pPr>
            <a:lvl7pPr marL="2937394" indent="0">
              <a:buNone/>
              <a:defRPr sz="1000"/>
            </a:lvl7pPr>
            <a:lvl8pPr marL="3426958" indent="0">
              <a:buNone/>
              <a:defRPr sz="1000"/>
            </a:lvl8pPr>
            <a:lvl9pPr marL="3916524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58796" y="72852"/>
            <a:ext cx="7653600" cy="953775"/>
          </a:xfrm>
          <a:prstGeom prst="rect">
            <a:avLst/>
          </a:prstGeom>
        </p:spPr>
        <p:txBody>
          <a:bodyPr lIns="36000" tIns="48597" rIns="72000" bIns="48597"/>
          <a:lstStyle>
            <a:lvl1pPr>
              <a:defRPr sz="2000" baseline="0"/>
            </a:lvl1pPr>
          </a:lstStyle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Образец</a:t>
            </a:r>
          </a:p>
        </p:txBody>
      </p:sp>
    </p:spTree>
    <p:extLst>
      <p:ext uri="{BB962C8B-B14F-4D97-AF65-F5344CB8AC3E}">
        <p14:creationId xmlns:p14="http://schemas.microsoft.com/office/powerpoint/2010/main" val="2696600616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68438" y="1475894"/>
            <a:ext cx="4770528" cy="457688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91179" y="1475894"/>
            <a:ext cx="4758917" cy="4576889"/>
          </a:xfrm>
        </p:spPr>
        <p:txBody>
          <a:bodyPr>
            <a:normAutofit/>
          </a:bodyPr>
          <a:lstStyle>
            <a:lvl1pPr marL="0" indent="0">
              <a:buFont typeface="Arial"/>
              <a:buNone/>
              <a:defRPr sz="1600"/>
            </a:lvl1pPr>
            <a:lvl2pPr marL="0" indent="0">
              <a:buFont typeface="Arial"/>
              <a:buNone/>
              <a:defRPr sz="1600"/>
            </a:lvl2pPr>
            <a:lvl3pPr marL="0" indent="0">
              <a:buFont typeface="Arial"/>
              <a:buNone/>
              <a:defRPr sz="1600"/>
            </a:lvl3pPr>
            <a:lvl4pPr marL="0" indent="0">
              <a:buFont typeface="Arial"/>
              <a:buNone/>
              <a:defRPr sz="1600"/>
            </a:lvl4pPr>
            <a:lvl5pPr marL="0" indent="0">
              <a:buFont typeface="Arial"/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58796" y="72852"/>
            <a:ext cx="7653600" cy="953775"/>
          </a:xfrm>
          <a:prstGeom prst="rect">
            <a:avLst/>
          </a:prstGeom>
        </p:spPr>
        <p:txBody>
          <a:bodyPr lIns="36000" tIns="48597" rIns="72000" bIns="48597"/>
          <a:lstStyle>
            <a:lvl1pPr>
              <a:defRPr sz="2000" baseline="0"/>
            </a:lvl1pPr>
          </a:lstStyle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Образец</a:t>
            </a:r>
          </a:p>
        </p:txBody>
      </p:sp>
    </p:spTree>
    <p:extLst>
      <p:ext uri="{BB962C8B-B14F-4D97-AF65-F5344CB8AC3E}">
        <p14:creationId xmlns:p14="http://schemas.microsoft.com/office/powerpoint/2010/main" val="1421793443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_Спис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68438" y="1576193"/>
            <a:ext cx="4770528" cy="456767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91179" y="1576193"/>
            <a:ext cx="4758917" cy="456767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58796" y="72852"/>
            <a:ext cx="7653600" cy="953775"/>
          </a:xfrm>
          <a:prstGeom prst="rect">
            <a:avLst/>
          </a:prstGeom>
        </p:spPr>
        <p:txBody>
          <a:bodyPr lIns="36000" tIns="48597" rIns="72000" bIns="48597"/>
          <a:lstStyle>
            <a:lvl1pPr>
              <a:defRPr sz="2000" baseline="0"/>
            </a:lvl1pPr>
          </a:lstStyle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Образец</a:t>
            </a:r>
          </a:p>
        </p:txBody>
      </p:sp>
    </p:spTree>
    <p:extLst>
      <p:ext uri="{BB962C8B-B14F-4D97-AF65-F5344CB8AC3E}">
        <p14:creationId xmlns:p14="http://schemas.microsoft.com/office/powerpoint/2010/main" val="19847941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70864" y="1789443"/>
            <a:ext cx="4678902" cy="3947049"/>
          </a:xfrm>
        </p:spPr>
        <p:txBody>
          <a:bodyPr rtlCol="0">
            <a:normAutofit/>
          </a:bodyPr>
          <a:lstStyle>
            <a:lvl1pPr marL="0" indent="0">
              <a:buNone/>
              <a:defRPr sz="3600"/>
            </a:lvl1pPr>
            <a:lvl2pPr marL="489564" indent="0">
              <a:buNone/>
              <a:defRPr sz="3100"/>
            </a:lvl2pPr>
            <a:lvl3pPr marL="979131" indent="0">
              <a:buNone/>
              <a:defRPr sz="2600"/>
            </a:lvl3pPr>
            <a:lvl4pPr marL="1468697" indent="0">
              <a:buNone/>
              <a:defRPr sz="2100"/>
            </a:lvl4pPr>
            <a:lvl5pPr marL="1958261" indent="0">
              <a:buNone/>
              <a:defRPr sz="2100"/>
            </a:lvl5pPr>
            <a:lvl6pPr marL="2447826" indent="0">
              <a:buNone/>
              <a:defRPr sz="2100"/>
            </a:lvl6pPr>
            <a:lvl7pPr marL="2937394" indent="0">
              <a:buNone/>
              <a:defRPr sz="2100"/>
            </a:lvl7pPr>
            <a:lvl8pPr marL="3426958" indent="0">
              <a:buNone/>
              <a:defRPr sz="2100"/>
            </a:lvl8pPr>
            <a:lvl9pPr marL="3916524" indent="0">
              <a:buNone/>
              <a:defRPr sz="21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60041" y="5909884"/>
            <a:ext cx="4778920" cy="71809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rgbClr val="0066A1"/>
                </a:solidFill>
              </a:defRPr>
            </a:lvl1pPr>
            <a:lvl2pPr marL="489564" indent="0">
              <a:buNone/>
              <a:defRPr sz="1200"/>
            </a:lvl2pPr>
            <a:lvl3pPr marL="979131" indent="0">
              <a:buNone/>
              <a:defRPr sz="1100"/>
            </a:lvl3pPr>
            <a:lvl4pPr marL="1468697" indent="0">
              <a:buNone/>
              <a:defRPr sz="1000"/>
            </a:lvl4pPr>
            <a:lvl5pPr marL="1958261" indent="0">
              <a:buNone/>
              <a:defRPr sz="1000"/>
            </a:lvl5pPr>
            <a:lvl6pPr marL="2447826" indent="0">
              <a:buNone/>
              <a:defRPr sz="1000"/>
            </a:lvl6pPr>
            <a:lvl7pPr marL="2937394" indent="0">
              <a:buNone/>
              <a:defRPr sz="1000"/>
            </a:lvl7pPr>
            <a:lvl8pPr marL="3426958" indent="0">
              <a:buNone/>
              <a:defRPr sz="1000"/>
            </a:lvl8pPr>
            <a:lvl9pPr marL="3916524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1" name="Picture Placeholder 2"/>
          <p:cNvSpPr>
            <a:spLocks noGrp="1"/>
          </p:cNvSpPr>
          <p:nvPr>
            <p:ph type="pic" idx="10"/>
          </p:nvPr>
        </p:nvSpPr>
        <p:spPr>
          <a:xfrm>
            <a:off x="5292796" y="1791105"/>
            <a:ext cx="4678902" cy="3947049"/>
          </a:xfrm>
        </p:spPr>
        <p:txBody>
          <a:bodyPr rtlCol="0">
            <a:normAutofit/>
          </a:bodyPr>
          <a:lstStyle>
            <a:lvl1pPr marL="0" indent="0">
              <a:buNone/>
              <a:defRPr sz="3600"/>
            </a:lvl1pPr>
            <a:lvl2pPr marL="489564" indent="0">
              <a:buNone/>
              <a:defRPr sz="3100"/>
            </a:lvl2pPr>
            <a:lvl3pPr marL="979131" indent="0">
              <a:buNone/>
              <a:defRPr sz="2600"/>
            </a:lvl3pPr>
            <a:lvl4pPr marL="1468697" indent="0">
              <a:buNone/>
              <a:defRPr sz="2100"/>
            </a:lvl4pPr>
            <a:lvl5pPr marL="1958261" indent="0">
              <a:buNone/>
              <a:defRPr sz="2100"/>
            </a:lvl5pPr>
            <a:lvl6pPr marL="2447826" indent="0">
              <a:buNone/>
              <a:defRPr sz="2100"/>
            </a:lvl6pPr>
            <a:lvl7pPr marL="2937394" indent="0">
              <a:buNone/>
              <a:defRPr sz="2100"/>
            </a:lvl7pPr>
            <a:lvl8pPr marL="3426958" indent="0">
              <a:buNone/>
              <a:defRPr sz="2100"/>
            </a:lvl8pPr>
            <a:lvl9pPr marL="3916524" indent="0">
              <a:buNone/>
              <a:defRPr sz="21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en-US" noProof="0"/>
          </a:p>
        </p:txBody>
      </p:sp>
      <p:sp>
        <p:nvSpPr>
          <p:cNvPr id="132" name="Text Placeholder 3"/>
          <p:cNvSpPr>
            <a:spLocks noGrp="1"/>
          </p:cNvSpPr>
          <p:nvPr>
            <p:ph type="body" sz="half" idx="11"/>
          </p:nvPr>
        </p:nvSpPr>
        <p:spPr>
          <a:xfrm>
            <a:off x="5181979" y="5902323"/>
            <a:ext cx="4778920" cy="71809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rgbClr val="0066A1"/>
                </a:solidFill>
              </a:defRPr>
            </a:lvl1pPr>
            <a:lvl2pPr marL="489564" indent="0">
              <a:buNone/>
              <a:defRPr sz="1200"/>
            </a:lvl2pPr>
            <a:lvl3pPr marL="979131" indent="0">
              <a:buNone/>
              <a:defRPr sz="1100"/>
            </a:lvl3pPr>
            <a:lvl4pPr marL="1468697" indent="0">
              <a:buNone/>
              <a:defRPr sz="1000"/>
            </a:lvl4pPr>
            <a:lvl5pPr marL="1958261" indent="0">
              <a:buNone/>
              <a:defRPr sz="1000"/>
            </a:lvl5pPr>
            <a:lvl6pPr marL="2447826" indent="0">
              <a:buNone/>
              <a:defRPr sz="1000"/>
            </a:lvl6pPr>
            <a:lvl7pPr marL="2937394" indent="0">
              <a:buNone/>
              <a:defRPr sz="1000"/>
            </a:lvl7pPr>
            <a:lvl8pPr marL="3426958" indent="0">
              <a:buNone/>
              <a:defRPr sz="1000"/>
            </a:lvl8pPr>
            <a:lvl9pPr marL="3916524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58796" y="72852"/>
            <a:ext cx="7653600" cy="953775"/>
          </a:xfrm>
          <a:prstGeom prst="rect">
            <a:avLst/>
          </a:prstGeom>
        </p:spPr>
        <p:txBody>
          <a:bodyPr lIns="36000" tIns="48597" rIns="72000" bIns="48597"/>
          <a:lstStyle>
            <a:lvl1pPr>
              <a:defRPr sz="2000" baseline="0"/>
            </a:lvl1pPr>
          </a:lstStyle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Образец</a:t>
            </a:r>
          </a:p>
        </p:txBody>
      </p:sp>
    </p:spTree>
    <p:extLst>
      <p:ext uri="{BB962C8B-B14F-4D97-AF65-F5344CB8AC3E}">
        <p14:creationId xmlns:p14="http://schemas.microsoft.com/office/powerpoint/2010/main" val="120269953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1"/>
          <p:cNvSpPr/>
          <p:nvPr/>
        </p:nvSpPr>
        <p:spPr>
          <a:xfrm>
            <a:off x="6" y="8"/>
            <a:ext cx="10369550" cy="6777978"/>
          </a:xfrm>
          <a:prstGeom prst="rect">
            <a:avLst/>
          </a:prstGeom>
          <a:solidFill>
            <a:srgbClr val="BFC5C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913" tIns="48954" rIns="97913" bIns="48954"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Rectangle 22"/>
          <p:cNvSpPr/>
          <p:nvPr/>
        </p:nvSpPr>
        <p:spPr>
          <a:xfrm>
            <a:off x="6" y="6789594"/>
            <a:ext cx="10369550" cy="37480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913" tIns="48954" rIns="97913" bIns="48954"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6" name="Picture 17" descr="rzd_logo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0215" y="6801202"/>
            <a:ext cx="649897" cy="363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9008" y="2520657"/>
            <a:ext cx="8814118" cy="1567209"/>
          </a:xfrm>
        </p:spPr>
        <p:txBody>
          <a:bodyPr>
            <a:normAutofit/>
          </a:bodyPr>
          <a:lstStyle>
            <a:lvl1pPr marL="0" indent="0">
              <a:buNone/>
              <a:defRPr sz="2500">
                <a:solidFill>
                  <a:schemeClr val="tx1"/>
                </a:solidFill>
              </a:defRPr>
            </a:lvl1pPr>
            <a:lvl2pPr marL="48956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79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468697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958261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2447826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937394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3426958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3916524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55849627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ополнительные материал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81" y="8626"/>
            <a:ext cx="10382400" cy="7164000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1020162" y="3337807"/>
            <a:ext cx="7597533" cy="436697"/>
          </a:xfrm>
          <a:prstGeom prst="rect">
            <a:avLst/>
          </a:prstGeom>
          <a:noFill/>
        </p:spPr>
        <p:txBody>
          <a:bodyPr wrap="square" lIns="92776" tIns="48597" rIns="92776" bIns="48597" rtlCol="0">
            <a:spAutoFit/>
          </a:bodyPr>
          <a:lstStyle/>
          <a:p>
            <a:r>
              <a:rPr lang="ru-RU" sz="2200" dirty="0" smtClean="0">
                <a:solidFill>
                  <a:prstClr val="black"/>
                </a:solidFill>
              </a:rPr>
              <a:t>Дополнительные материалы</a:t>
            </a:r>
            <a:endParaRPr lang="ru-RU" sz="2200" dirty="0">
              <a:solidFill>
                <a:prstClr val="black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1018733" y="2186329"/>
            <a:ext cx="7595723" cy="487995"/>
          </a:xfrm>
          <a:prstGeom prst="rect">
            <a:avLst/>
          </a:prstGeom>
        </p:spPr>
        <p:txBody>
          <a:bodyPr wrap="square" lIns="87033" tIns="43518" rIns="87033" bIns="43518">
            <a:spAutoFit/>
          </a:bodyPr>
          <a:lstStyle>
            <a:lvl1pPr marL="0" marR="0" indent="0" defTabSz="48956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/>
              <a:defRPr sz="25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 dirty="0" smtClean="0"/>
              <a:t>Образец заголовка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1875564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ключ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81" y="8626"/>
            <a:ext cx="10382400" cy="7164000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938503" y="2579194"/>
            <a:ext cx="7104339" cy="544419"/>
          </a:xfrm>
          <a:prstGeom prst="rect">
            <a:avLst/>
          </a:prstGeom>
          <a:noFill/>
        </p:spPr>
        <p:txBody>
          <a:bodyPr wrap="square" lIns="92776" tIns="48597" rIns="92776" bIns="48597" rtlCol="0">
            <a:spAutoFit/>
          </a:bodyPr>
          <a:lstStyle/>
          <a:p>
            <a:r>
              <a:rPr lang="ru-RU" sz="2900" dirty="0" smtClean="0">
                <a:solidFill>
                  <a:prstClr val="black"/>
                </a:solidFill>
              </a:rPr>
              <a:t>Спасибо за внимание!</a:t>
            </a:r>
            <a:endParaRPr lang="ru-RU" sz="29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950640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18479" y="326712"/>
            <a:ext cx="6819973" cy="469333"/>
          </a:xfrm>
          <a:prstGeom prst="rect">
            <a:avLst/>
          </a:prstGeom>
        </p:spPr>
        <p:txBody>
          <a:bodyPr lIns="112215" tIns="56108" rIns="112215" bIns="56108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91062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бочий с элементами_спис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6973" y="1262435"/>
            <a:ext cx="9673131" cy="52152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58796" y="72852"/>
            <a:ext cx="7653600" cy="953775"/>
          </a:xfrm>
          <a:prstGeom prst="rect">
            <a:avLst/>
          </a:prstGeom>
        </p:spPr>
        <p:txBody>
          <a:bodyPr lIns="36000" tIns="48597" rIns="72000" bIns="48597"/>
          <a:lstStyle>
            <a:lvl1pPr>
              <a:defRPr sz="2000" baseline="0"/>
            </a:lvl1pPr>
          </a:lstStyle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Образец</a:t>
            </a:r>
          </a:p>
        </p:txBody>
      </p:sp>
    </p:spTree>
    <p:extLst>
      <p:ext uri="{BB962C8B-B14F-4D97-AF65-F5344CB8AC3E}">
        <p14:creationId xmlns:p14="http://schemas.microsoft.com/office/powerpoint/2010/main" val="2263987095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6970" y="1275293"/>
            <a:ext cx="8045689" cy="5146996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0" name="Text Placeholder 3"/>
          <p:cNvSpPr>
            <a:spLocks noGrp="1"/>
          </p:cNvSpPr>
          <p:nvPr>
            <p:ph type="body" sz="half" idx="2"/>
          </p:nvPr>
        </p:nvSpPr>
        <p:spPr>
          <a:xfrm>
            <a:off x="8457195" y="1275293"/>
            <a:ext cx="1492902" cy="514482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accent6"/>
                </a:solidFill>
              </a:defRPr>
            </a:lvl1pPr>
            <a:lvl2pPr marL="489564" indent="0">
              <a:buNone/>
              <a:defRPr sz="1200"/>
            </a:lvl2pPr>
            <a:lvl3pPr marL="979131" indent="0">
              <a:buNone/>
              <a:defRPr sz="1100"/>
            </a:lvl3pPr>
            <a:lvl4pPr marL="1468697" indent="0">
              <a:buNone/>
              <a:defRPr sz="1000"/>
            </a:lvl4pPr>
            <a:lvl5pPr marL="1958261" indent="0">
              <a:buNone/>
              <a:defRPr sz="1000"/>
            </a:lvl5pPr>
            <a:lvl6pPr marL="2447826" indent="0">
              <a:buNone/>
              <a:defRPr sz="1000"/>
            </a:lvl6pPr>
            <a:lvl7pPr marL="2937394" indent="0">
              <a:buNone/>
              <a:defRPr sz="1000"/>
            </a:lvl7pPr>
            <a:lvl8pPr marL="3426958" indent="0">
              <a:buNone/>
              <a:defRPr sz="1000"/>
            </a:lvl8pPr>
            <a:lvl9pPr marL="3916524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58796" y="72852"/>
            <a:ext cx="7653600" cy="953775"/>
          </a:xfrm>
          <a:prstGeom prst="rect">
            <a:avLst/>
          </a:prstGeom>
        </p:spPr>
        <p:txBody>
          <a:bodyPr lIns="36000" tIns="48597" rIns="72000" bIns="48597"/>
          <a:lstStyle>
            <a:lvl1pPr>
              <a:defRPr sz="2000" baseline="0"/>
            </a:lvl1pPr>
          </a:lstStyle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Образец</a:t>
            </a:r>
          </a:p>
        </p:txBody>
      </p:sp>
    </p:spTree>
    <p:extLst>
      <p:ext uri="{BB962C8B-B14F-4D97-AF65-F5344CB8AC3E}">
        <p14:creationId xmlns:p14="http://schemas.microsoft.com/office/powerpoint/2010/main" val="3339253713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68438" y="1475894"/>
            <a:ext cx="4770528" cy="457688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91179" y="1475894"/>
            <a:ext cx="4758917" cy="4576889"/>
          </a:xfrm>
        </p:spPr>
        <p:txBody>
          <a:bodyPr>
            <a:normAutofit/>
          </a:bodyPr>
          <a:lstStyle>
            <a:lvl1pPr marL="0" indent="0">
              <a:buFont typeface="Arial"/>
              <a:buNone/>
              <a:defRPr sz="1600"/>
            </a:lvl1pPr>
            <a:lvl2pPr marL="0" indent="0">
              <a:buFont typeface="Arial"/>
              <a:buNone/>
              <a:defRPr sz="1600"/>
            </a:lvl2pPr>
            <a:lvl3pPr marL="0" indent="0">
              <a:buFont typeface="Arial"/>
              <a:buNone/>
              <a:defRPr sz="1600"/>
            </a:lvl3pPr>
            <a:lvl4pPr marL="0" indent="0">
              <a:buFont typeface="Arial"/>
              <a:buNone/>
              <a:defRPr sz="1600"/>
            </a:lvl4pPr>
            <a:lvl5pPr marL="0" indent="0">
              <a:buFont typeface="Arial"/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58796" y="72852"/>
            <a:ext cx="7653600" cy="953775"/>
          </a:xfrm>
          <a:prstGeom prst="rect">
            <a:avLst/>
          </a:prstGeom>
        </p:spPr>
        <p:txBody>
          <a:bodyPr lIns="36000" tIns="48597" rIns="72000" bIns="48597"/>
          <a:lstStyle>
            <a:lvl1pPr>
              <a:defRPr sz="2000" baseline="0"/>
            </a:lvl1pPr>
          </a:lstStyle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Образец</a:t>
            </a:r>
          </a:p>
        </p:txBody>
      </p:sp>
    </p:spTree>
    <p:extLst>
      <p:ext uri="{BB962C8B-B14F-4D97-AF65-F5344CB8AC3E}">
        <p14:creationId xmlns:p14="http://schemas.microsoft.com/office/powerpoint/2010/main" val="3483562416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_Спис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68438" y="1576193"/>
            <a:ext cx="4770528" cy="456767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91179" y="1576193"/>
            <a:ext cx="4758917" cy="456767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58796" y="72852"/>
            <a:ext cx="7653600" cy="953775"/>
          </a:xfrm>
          <a:prstGeom prst="rect">
            <a:avLst/>
          </a:prstGeom>
        </p:spPr>
        <p:txBody>
          <a:bodyPr lIns="36000" tIns="48597" rIns="72000" bIns="48597"/>
          <a:lstStyle>
            <a:lvl1pPr>
              <a:defRPr sz="2000" baseline="0"/>
            </a:lvl1pPr>
          </a:lstStyle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Образец</a:t>
            </a:r>
          </a:p>
        </p:txBody>
      </p:sp>
    </p:spTree>
    <p:extLst>
      <p:ext uri="{BB962C8B-B14F-4D97-AF65-F5344CB8AC3E}">
        <p14:creationId xmlns:p14="http://schemas.microsoft.com/office/powerpoint/2010/main" val="36725321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70864" y="1789443"/>
            <a:ext cx="4678902" cy="3947049"/>
          </a:xfrm>
        </p:spPr>
        <p:txBody>
          <a:bodyPr rtlCol="0">
            <a:normAutofit/>
          </a:bodyPr>
          <a:lstStyle>
            <a:lvl1pPr marL="0" indent="0">
              <a:buNone/>
              <a:defRPr sz="3600"/>
            </a:lvl1pPr>
            <a:lvl2pPr marL="489564" indent="0">
              <a:buNone/>
              <a:defRPr sz="3100"/>
            </a:lvl2pPr>
            <a:lvl3pPr marL="979131" indent="0">
              <a:buNone/>
              <a:defRPr sz="2600"/>
            </a:lvl3pPr>
            <a:lvl4pPr marL="1468697" indent="0">
              <a:buNone/>
              <a:defRPr sz="2100"/>
            </a:lvl4pPr>
            <a:lvl5pPr marL="1958261" indent="0">
              <a:buNone/>
              <a:defRPr sz="2100"/>
            </a:lvl5pPr>
            <a:lvl6pPr marL="2447826" indent="0">
              <a:buNone/>
              <a:defRPr sz="2100"/>
            </a:lvl6pPr>
            <a:lvl7pPr marL="2937394" indent="0">
              <a:buNone/>
              <a:defRPr sz="2100"/>
            </a:lvl7pPr>
            <a:lvl8pPr marL="3426958" indent="0">
              <a:buNone/>
              <a:defRPr sz="2100"/>
            </a:lvl8pPr>
            <a:lvl9pPr marL="3916524" indent="0">
              <a:buNone/>
              <a:defRPr sz="21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60041" y="5909884"/>
            <a:ext cx="4778920" cy="71809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rgbClr val="0066A1"/>
                </a:solidFill>
              </a:defRPr>
            </a:lvl1pPr>
            <a:lvl2pPr marL="489564" indent="0">
              <a:buNone/>
              <a:defRPr sz="1200"/>
            </a:lvl2pPr>
            <a:lvl3pPr marL="979131" indent="0">
              <a:buNone/>
              <a:defRPr sz="1100"/>
            </a:lvl3pPr>
            <a:lvl4pPr marL="1468697" indent="0">
              <a:buNone/>
              <a:defRPr sz="1000"/>
            </a:lvl4pPr>
            <a:lvl5pPr marL="1958261" indent="0">
              <a:buNone/>
              <a:defRPr sz="1000"/>
            </a:lvl5pPr>
            <a:lvl6pPr marL="2447826" indent="0">
              <a:buNone/>
              <a:defRPr sz="1000"/>
            </a:lvl6pPr>
            <a:lvl7pPr marL="2937394" indent="0">
              <a:buNone/>
              <a:defRPr sz="1000"/>
            </a:lvl7pPr>
            <a:lvl8pPr marL="3426958" indent="0">
              <a:buNone/>
              <a:defRPr sz="1000"/>
            </a:lvl8pPr>
            <a:lvl9pPr marL="3916524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1" name="Picture Placeholder 2"/>
          <p:cNvSpPr>
            <a:spLocks noGrp="1"/>
          </p:cNvSpPr>
          <p:nvPr>
            <p:ph type="pic" idx="10"/>
          </p:nvPr>
        </p:nvSpPr>
        <p:spPr>
          <a:xfrm>
            <a:off x="5292796" y="1791105"/>
            <a:ext cx="4678902" cy="3947049"/>
          </a:xfrm>
        </p:spPr>
        <p:txBody>
          <a:bodyPr rtlCol="0">
            <a:normAutofit/>
          </a:bodyPr>
          <a:lstStyle>
            <a:lvl1pPr marL="0" indent="0">
              <a:buNone/>
              <a:defRPr sz="3600"/>
            </a:lvl1pPr>
            <a:lvl2pPr marL="489564" indent="0">
              <a:buNone/>
              <a:defRPr sz="3100"/>
            </a:lvl2pPr>
            <a:lvl3pPr marL="979131" indent="0">
              <a:buNone/>
              <a:defRPr sz="2600"/>
            </a:lvl3pPr>
            <a:lvl4pPr marL="1468697" indent="0">
              <a:buNone/>
              <a:defRPr sz="2100"/>
            </a:lvl4pPr>
            <a:lvl5pPr marL="1958261" indent="0">
              <a:buNone/>
              <a:defRPr sz="2100"/>
            </a:lvl5pPr>
            <a:lvl6pPr marL="2447826" indent="0">
              <a:buNone/>
              <a:defRPr sz="2100"/>
            </a:lvl6pPr>
            <a:lvl7pPr marL="2937394" indent="0">
              <a:buNone/>
              <a:defRPr sz="2100"/>
            </a:lvl7pPr>
            <a:lvl8pPr marL="3426958" indent="0">
              <a:buNone/>
              <a:defRPr sz="2100"/>
            </a:lvl8pPr>
            <a:lvl9pPr marL="3916524" indent="0">
              <a:buNone/>
              <a:defRPr sz="21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en-US" noProof="0"/>
          </a:p>
        </p:txBody>
      </p:sp>
      <p:sp>
        <p:nvSpPr>
          <p:cNvPr id="132" name="Text Placeholder 3"/>
          <p:cNvSpPr>
            <a:spLocks noGrp="1"/>
          </p:cNvSpPr>
          <p:nvPr>
            <p:ph type="body" sz="half" idx="11"/>
          </p:nvPr>
        </p:nvSpPr>
        <p:spPr>
          <a:xfrm>
            <a:off x="5181979" y="5902323"/>
            <a:ext cx="4778920" cy="71809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rgbClr val="0066A1"/>
                </a:solidFill>
              </a:defRPr>
            </a:lvl1pPr>
            <a:lvl2pPr marL="489564" indent="0">
              <a:buNone/>
              <a:defRPr sz="1200"/>
            </a:lvl2pPr>
            <a:lvl3pPr marL="979131" indent="0">
              <a:buNone/>
              <a:defRPr sz="1100"/>
            </a:lvl3pPr>
            <a:lvl4pPr marL="1468697" indent="0">
              <a:buNone/>
              <a:defRPr sz="1000"/>
            </a:lvl4pPr>
            <a:lvl5pPr marL="1958261" indent="0">
              <a:buNone/>
              <a:defRPr sz="1000"/>
            </a:lvl5pPr>
            <a:lvl6pPr marL="2447826" indent="0">
              <a:buNone/>
              <a:defRPr sz="1000"/>
            </a:lvl6pPr>
            <a:lvl7pPr marL="2937394" indent="0">
              <a:buNone/>
              <a:defRPr sz="1000"/>
            </a:lvl7pPr>
            <a:lvl8pPr marL="3426958" indent="0">
              <a:buNone/>
              <a:defRPr sz="1000"/>
            </a:lvl8pPr>
            <a:lvl9pPr marL="3916524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58796" y="72852"/>
            <a:ext cx="7653600" cy="953775"/>
          </a:xfrm>
          <a:prstGeom prst="rect">
            <a:avLst/>
          </a:prstGeom>
        </p:spPr>
        <p:txBody>
          <a:bodyPr lIns="36000" tIns="48597" rIns="72000" bIns="48597"/>
          <a:lstStyle>
            <a:lvl1pPr>
              <a:defRPr sz="2000" baseline="0"/>
            </a:lvl1pPr>
          </a:lstStyle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Образец</a:t>
            </a:r>
          </a:p>
        </p:txBody>
      </p:sp>
    </p:spTree>
    <p:extLst>
      <p:ext uri="{BB962C8B-B14F-4D97-AF65-F5344CB8AC3E}">
        <p14:creationId xmlns:p14="http://schemas.microsoft.com/office/powerpoint/2010/main" val="1102965407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1"/>
          <p:cNvSpPr/>
          <p:nvPr/>
        </p:nvSpPr>
        <p:spPr>
          <a:xfrm>
            <a:off x="6" y="8"/>
            <a:ext cx="10369550" cy="6777978"/>
          </a:xfrm>
          <a:prstGeom prst="rect">
            <a:avLst/>
          </a:prstGeom>
          <a:solidFill>
            <a:srgbClr val="BFC5C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913" tIns="48954" rIns="97913" bIns="4895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5" name="Rectangle 22"/>
          <p:cNvSpPr/>
          <p:nvPr/>
        </p:nvSpPr>
        <p:spPr>
          <a:xfrm>
            <a:off x="6" y="6789594"/>
            <a:ext cx="10369550" cy="37480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913" tIns="48954" rIns="97913" bIns="4895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6" name="Picture 17" descr="rzd_logo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0215" y="6801202"/>
            <a:ext cx="649897" cy="363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9008" y="2520657"/>
            <a:ext cx="8814118" cy="1567209"/>
          </a:xfrm>
        </p:spPr>
        <p:txBody>
          <a:bodyPr>
            <a:normAutofit/>
          </a:bodyPr>
          <a:lstStyle>
            <a:lvl1pPr marL="0" indent="0">
              <a:buNone/>
              <a:defRPr sz="2500">
                <a:solidFill>
                  <a:schemeClr val="tx1"/>
                </a:solidFill>
              </a:defRPr>
            </a:lvl1pPr>
            <a:lvl2pPr marL="48956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79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468697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958261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2447826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937394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3426958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3916524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533454718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5.pn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098" y="8625"/>
            <a:ext cx="10375200" cy="7164000"/>
          </a:xfrm>
          <a:prstGeom prst="rect">
            <a:avLst/>
          </a:prstGeom>
        </p:spPr>
      </p:pic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54402" y="1262435"/>
            <a:ext cx="9689049" cy="557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7913" tIns="48954" rIns="97913" bIns="4895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smtClean="0"/>
              <a:t>Нажмите для редактирования</a:t>
            </a:r>
          </a:p>
          <a:p>
            <a:pPr lvl="0"/>
            <a:r>
              <a:rPr lang="ru-RU" dirty="0" smtClean="0"/>
              <a:t>Нажмите для ввода текста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029" name="TextBox 6"/>
          <p:cNvSpPr txBox="1">
            <a:spLocks noChangeArrowheads="1"/>
          </p:cNvSpPr>
          <p:nvPr/>
        </p:nvSpPr>
        <p:spPr bwMode="auto">
          <a:xfrm>
            <a:off x="151233" y="139319"/>
            <a:ext cx="197803" cy="375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7913" tIns="48954" rIns="97913" bIns="48954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endParaRPr lang="ru-RU" smtClean="0">
              <a:latin typeface="Verdana" pitchFamily="34" charset="0"/>
              <a:cs typeface="Arial" charset="0"/>
            </a:endParaRPr>
          </a:p>
        </p:txBody>
      </p:sp>
      <p:grpSp>
        <p:nvGrpSpPr>
          <p:cNvPr id="1034" name="Group 12"/>
          <p:cNvGrpSpPr>
            <a:grpSpLocks/>
          </p:cNvGrpSpPr>
          <p:nvPr/>
        </p:nvGrpSpPr>
        <p:grpSpPr bwMode="auto">
          <a:xfrm>
            <a:off x="-424857" y="-18232"/>
            <a:ext cx="415862" cy="3061451"/>
            <a:chOff x="-374650" y="-17463"/>
            <a:chExt cx="366712" cy="2930526"/>
          </a:xfrm>
        </p:grpSpPr>
        <p:sp>
          <p:nvSpPr>
            <p:cNvPr id="14" name="Rectangle 13"/>
            <p:cNvSpPr>
              <a:spLocks noChangeArrowheads="1"/>
            </p:cNvSpPr>
            <p:nvPr userDrawn="1"/>
          </p:nvSpPr>
          <p:spPr bwMode="auto">
            <a:xfrm>
              <a:off x="-374650" y="-17463"/>
              <a:ext cx="366712" cy="366713"/>
            </a:xfrm>
            <a:prstGeom prst="rect">
              <a:avLst/>
            </a:prstGeom>
            <a:solidFill>
              <a:srgbClr val="CD202C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lt1"/>
                </a:solidFill>
                <a:latin typeface="+mn-lt"/>
                <a:ea typeface="+mn-ea"/>
              </a:endParaRPr>
            </a:p>
          </p:txBody>
        </p:sp>
        <p:sp>
          <p:nvSpPr>
            <p:cNvPr id="15" name="Rectangle 14"/>
            <p:cNvSpPr>
              <a:spLocks noChangeArrowheads="1"/>
            </p:cNvSpPr>
            <p:nvPr userDrawn="1"/>
          </p:nvSpPr>
          <p:spPr bwMode="auto">
            <a:xfrm>
              <a:off x="-374650" y="349250"/>
              <a:ext cx="366712" cy="366713"/>
            </a:xfrm>
            <a:prstGeom prst="rect">
              <a:avLst/>
            </a:prstGeom>
            <a:solidFill>
              <a:srgbClr val="455D70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lt1"/>
                </a:solidFill>
                <a:latin typeface="+mn-lt"/>
                <a:ea typeface="+mn-ea"/>
              </a:endParaRPr>
            </a:p>
          </p:txBody>
        </p:sp>
        <p:sp>
          <p:nvSpPr>
            <p:cNvPr id="16" name="Rectangle 15"/>
            <p:cNvSpPr>
              <a:spLocks noChangeArrowheads="1"/>
            </p:cNvSpPr>
            <p:nvPr userDrawn="1"/>
          </p:nvSpPr>
          <p:spPr bwMode="auto">
            <a:xfrm>
              <a:off x="-374650" y="715963"/>
              <a:ext cx="366712" cy="366712"/>
            </a:xfrm>
            <a:prstGeom prst="rect">
              <a:avLst/>
            </a:prstGeom>
            <a:solidFill>
              <a:srgbClr val="68798B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lt1"/>
                </a:solidFill>
                <a:latin typeface="+mn-lt"/>
                <a:ea typeface="+mn-ea"/>
              </a:endParaRPr>
            </a:p>
          </p:txBody>
        </p:sp>
        <p:sp>
          <p:nvSpPr>
            <p:cNvPr id="17" name="Rectangle 16"/>
            <p:cNvSpPr>
              <a:spLocks noChangeArrowheads="1"/>
            </p:cNvSpPr>
            <p:nvPr userDrawn="1"/>
          </p:nvSpPr>
          <p:spPr bwMode="auto">
            <a:xfrm>
              <a:off x="-374650" y="1081088"/>
              <a:ext cx="366712" cy="366712"/>
            </a:xfrm>
            <a:prstGeom prst="rect">
              <a:avLst/>
            </a:prstGeom>
            <a:solidFill>
              <a:srgbClr val="909CAA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lt1"/>
                </a:solidFill>
                <a:latin typeface="+mn-lt"/>
                <a:ea typeface="+mn-ea"/>
              </a:endParaRPr>
            </a:p>
          </p:txBody>
        </p:sp>
        <p:sp>
          <p:nvSpPr>
            <p:cNvPr id="18" name="Rectangle 17"/>
            <p:cNvSpPr>
              <a:spLocks noChangeArrowheads="1"/>
            </p:cNvSpPr>
            <p:nvPr userDrawn="1"/>
          </p:nvSpPr>
          <p:spPr bwMode="auto">
            <a:xfrm>
              <a:off x="-374650" y="1447800"/>
              <a:ext cx="366712" cy="366713"/>
            </a:xfrm>
            <a:prstGeom prst="rect">
              <a:avLst/>
            </a:prstGeom>
            <a:solidFill>
              <a:srgbClr val="BFC5CE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lt1"/>
                </a:solidFill>
                <a:latin typeface="+mn-lt"/>
                <a:ea typeface="+mn-ea"/>
              </a:endParaRPr>
            </a:p>
          </p:txBody>
        </p:sp>
        <p:sp>
          <p:nvSpPr>
            <p:cNvPr id="19" name="Rectangle 18"/>
            <p:cNvSpPr>
              <a:spLocks noChangeArrowheads="1"/>
            </p:cNvSpPr>
            <p:nvPr userDrawn="1"/>
          </p:nvSpPr>
          <p:spPr bwMode="auto">
            <a:xfrm>
              <a:off x="-374650" y="1814513"/>
              <a:ext cx="366712" cy="366712"/>
            </a:xfrm>
            <a:prstGeom prst="rect">
              <a:avLst/>
            </a:prstGeom>
            <a:solidFill>
              <a:srgbClr val="A3A86B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lt1"/>
                </a:solidFill>
                <a:latin typeface="+mn-lt"/>
                <a:ea typeface="+mn-ea"/>
              </a:endParaRPr>
            </a:p>
          </p:txBody>
        </p:sp>
        <p:sp>
          <p:nvSpPr>
            <p:cNvPr id="20" name="Rectangle 19"/>
            <p:cNvSpPr>
              <a:spLocks noChangeArrowheads="1"/>
            </p:cNvSpPr>
            <p:nvPr userDrawn="1"/>
          </p:nvSpPr>
          <p:spPr bwMode="auto">
            <a:xfrm>
              <a:off x="-374650" y="2181225"/>
              <a:ext cx="366712" cy="366713"/>
            </a:xfrm>
            <a:prstGeom prst="rect">
              <a:avLst/>
            </a:prstGeom>
            <a:solidFill>
              <a:srgbClr val="D3D7BD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lt1"/>
                </a:solidFill>
                <a:latin typeface="+mn-lt"/>
                <a:ea typeface="+mn-ea"/>
              </a:endParaRPr>
            </a:p>
          </p:txBody>
        </p:sp>
        <p:sp>
          <p:nvSpPr>
            <p:cNvPr id="21" name="Rectangle 20"/>
            <p:cNvSpPr>
              <a:spLocks noChangeArrowheads="1"/>
            </p:cNvSpPr>
            <p:nvPr userDrawn="1"/>
          </p:nvSpPr>
          <p:spPr bwMode="auto">
            <a:xfrm>
              <a:off x="-374650" y="2546350"/>
              <a:ext cx="366712" cy="366713"/>
            </a:xfrm>
            <a:prstGeom prst="rect">
              <a:avLst/>
            </a:prstGeom>
            <a:solidFill>
              <a:srgbClr val="0066A1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lt1"/>
                </a:solidFill>
                <a:latin typeface="+mn-lt"/>
                <a:ea typeface="+mn-ea"/>
              </a:endParaRPr>
            </a:p>
          </p:txBody>
        </p:sp>
      </p:grpSp>
      <p:sp>
        <p:nvSpPr>
          <p:cNvPr id="22" name="Прямоугольник 21"/>
          <p:cNvSpPr/>
          <p:nvPr/>
        </p:nvSpPr>
        <p:spPr>
          <a:xfrm>
            <a:off x="9758427" y="6700030"/>
            <a:ext cx="538916" cy="338548"/>
          </a:xfrm>
          <a:prstGeom prst="rect">
            <a:avLst/>
          </a:prstGeom>
        </p:spPr>
        <p:txBody>
          <a:bodyPr wrap="none" lIns="91433" tIns="45717" rIns="91433" bIns="45717">
            <a:spAutoFit/>
          </a:bodyPr>
          <a:lstStyle/>
          <a:p>
            <a:pPr algn="ctr"/>
            <a:fld id="{D6C74929-B950-4BE6-9E99-130E6DA381FF}" type="slidenum">
              <a:rPr lang="ru-RU" sz="1600" b="0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pPr algn="ctr"/>
              <a:t>‹#›</a:t>
            </a:fld>
            <a:endParaRPr lang="ru-RU" sz="1600" b="0" dirty="0">
              <a:solidFill>
                <a:schemeClr val="bg1">
                  <a:lumMod val="50000"/>
                </a:schemeClr>
              </a:solidFill>
              <a:latin typeface="+mj-lt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5" r:id="rId2"/>
    <p:sldLayoutId id="2147483686" r:id="rId3"/>
    <p:sldLayoutId id="2147483675" r:id="rId4"/>
    <p:sldLayoutId id="2147483676" r:id="rId5"/>
    <p:sldLayoutId id="2147483678" r:id="rId6"/>
    <p:sldLayoutId id="2147483679" r:id="rId7"/>
    <p:sldLayoutId id="2147483681" r:id="rId8"/>
    <p:sldLayoutId id="2147483683" r:id="rId9"/>
    <p:sldLayoutId id="2147483688" r:id="rId10"/>
    <p:sldLayoutId id="2147483687" r:id="rId11"/>
    <p:sldLayoutId id="2147483690" r:id="rId1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489564" rtl="0" eaLnBrk="1" fontAlgn="base" hangingPunct="1">
        <a:spcBef>
          <a:spcPct val="0"/>
        </a:spcBef>
        <a:spcAft>
          <a:spcPct val="0"/>
        </a:spcAft>
        <a:defRPr sz="2500" kern="1200">
          <a:solidFill>
            <a:schemeClr val="tx1"/>
          </a:solidFill>
          <a:latin typeface="+mj-lt"/>
          <a:ea typeface="ＭＳ Ｐゴシック" charset="-128"/>
          <a:cs typeface="ＭＳ Ｐゴシック" charset="-128"/>
        </a:defRPr>
      </a:lvl1pPr>
      <a:lvl2pPr algn="l" defTabSz="489564" rtl="0" eaLnBrk="1" fontAlgn="base" hangingPunct="1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Verdana" charset="0"/>
          <a:ea typeface="ＭＳ Ｐゴシック" charset="-128"/>
          <a:cs typeface="ＭＳ Ｐゴシック" charset="-128"/>
        </a:defRPr>
      </a:lvl2pPr>
      <a:lvl3pPr algn="l" defTabSz="489564" rtl="0" eaLnBrk="1" fontAlgn="base" hangingPunct="1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Verdana" charset="0"/>
          <a:ea typeface="ＭＳ Ｐゴシック" charset="-128"/>
          <a:cs typeface="ＭＳ Ｐゴシック" charset="-128"/>
        </a:defRPr>
      </a:lvl3pPr>
      <a:lvl4pPr algn="l" defTabSz="489564" rtl="0" eaLnBrk="1" fontAlgn="base" hangingPunct="1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Verdana" charset="0"/>
          <a:ea typeface="ＭＳ Ｐゴシック" charset="-128"/>
          <a:cs typeface="ＭＳ Ｐゴシック" charset="-128"/>
        </a:defRPr>
      </a:lvl4pPr>
      <a:lvl5pPr algn="l" defTabSz="489564" rtl="0" eaLnBrk="1" fontAlgn="base" hangingPunct="1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Verdana" charset="0"/>
          <a:ea typeface="ＭＳ Ｐゴシック" charset="-128"/>
          <a:cs typeface="ＭＳ Ｐゴシック" charset="-128"/>
        </a:defRPr>
      </a:lvl5pPr>
      <a:lvl6pPr marL="489564" algn="l" defTabSz="489564" rtl="0" eaLnBrk="1" fontAlgn="base" hangingPunct="1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Verdana" charset="0"/>
          <a:ea typeface="ＭＳ Ｐゴシック" charset="-128"/>
          <a:cs typeface="ＭＳ Ｐゴシック" charset="-128"/>
        </a:defRPr>
      </a:lvl6pPr>
      <a:lvl7pPr marL="979131" algn="l" defTabSz="489564" rtl="0" eaLnBrk="1" fontAlgn="base" hangingPunct="1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Verdana" charset="0"/>
          <a:ea typeface="ＭＳ Ｐゴシック" charset="-128"/>
          <a:cs typeface="ＭＳ Ｐゴシック" charset="-128"/>
        </a:defRPr>
      </a:lvl7pPr>
      <a:lvl8pPr marL="1468697" algn="l" defTabSz="489564" rtl="0" eaLnBrk="1" fontAlgn="base" hangingPunct="1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Verdana" charset="0"/>
          <a:ea typeface="ＭＳ Ｐゴシック" charset="-128"/>
          <a:cs typeface="ＭＳ Ｐゴシック" charset="-128"/>
        </a:defRPr>
      </a:lvl8pPr>
      <a:lvl9pPr marL="1958261" algn="l" defTabSz="489564" rtl="0" eaLnBrk="1" fontAlgn="base" hangingPunct="1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Verdana" charset="0"/>
          <a:ea typeface="ＭＳ Ｐゴシック" charset="-128"/>
          <a:cs typeface="ＭＳ Ｐゴシック" charset="-128"/>
        </a:defRPr>
      </a:lvl9pPr>
    </p:titleStyle>
    <p:bodyStyle>
      <a:lvl1pPr marL="367172" indent="-367172" algn="l" defTabSz="489564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795546" indent="-305978" algn="l" defTabSz="489564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1223915" indent="-244781" algn="l" defTabSz="489564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713478" indent="-244781" algn="l" defTabSz="489564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2203044" indent="-244781" algn="l" defTabSz="489564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2692609" indent="-244781" algn="l" defTabSz="489564" rtl="0" eaLnBrk="1" latinLnBrk="0" hangingPunct="1">
        <a:spcBef>
          <a:spcPct val="2000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82174" indent="-244781" algn="l" defTabSz="489564" rtl="0" eaLnBrk="1" latinLnBrk="0" hangingPunct="1">
        <a:spcBef>
          <a:spcPct val="2000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71743" indent="-244781" algn="l" defTabSz="489564" rtl="0" eaLnBrk="1" latinLnBrk="0" hangingPunct="1">
        <a:spcBef>
          <a:spcPct val="2000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1305" indent="-244781" algn="l" defTabSz="489564" rtl="0" eaLnBrk="1" latinLnBrk="0" hangingPunct="1">
        <a:spcBef>
          <a:spcPct val="2000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895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89564" algn="l" defTabSz="4895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79131" algn="l" defTabSz="4895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68697" algn="l" defTabSz="4895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958261" algn="l" defTabSz="4895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447826" algn="l" defTabSz="4895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37394" algn="l" defTabSz="4895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6958" algn="l" defTabSz="4895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916524" algn="l" defTabSz="4895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6" y="0"/>
            <a:ext cx="10367524" cy="7165788"/>
          </a:xfrm>
          <a:prstGeom prst="rect">
            <a:avLst/>
          </a:prstGeom>
        </p:spPr>
      </p:pic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61044" y="1320937"/>
            <a:ext cx="9689048" cy="51319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0138" tIns="50069" rIns="100138" bIns="5006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smtClean="0"/>
              <a:t>Нажмите для редактирования</a:t>
            </a:r>
          </a:p>
          <a:p>
            <a:pPr lvl="0"/>
            <a:r>
              <a:rPr lang="ru-RU" dirty="0" smtClean="0"/>
              <a:t>Нажмите для ввода текста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029" name="TextBox 6"/>
          <p:cNvSpPr txBox="1">
            <a:spLocks noChangeArrowheads="1"/>
          </p:cNvSpPr>
          <p:nvPr/>
        </p:nvSpPr>
        <p:spPr bwMode="auto">
          <a:xfrm>
            <a:off x="151227" y="139313"/>
            <a:ext cx="209393" cy="4074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0138" tIns="50069" rIns="100138" bIns="50069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1001480" eaLnBrk="1" hangingPunct="1">
              <a:defRPr/>
            </a:pPr>
            <a:endParaRPr lang="ru-RU" sz="2000" smtClean="0">
              <a:solidFill>
                <a:prstClr val="black"/>
              </a:solidFill>
              <a:latin typeface="Verdana" pitchFamily="34" charset="0"/>
              <a:cs typeface="Arial" charset="0"/>
            </a:endParaRPr>
          </a:p>
        </p:txBody>
      </p:sp>
      <p:grpSp>
        <p:nvGrpSpPr>
          <p:cNvPr id="1034" name="Group 12"/>
          <p:cNvGrpSpPr>
            <a:grpSpLocks/>
          </p:cNvGrpSpPr>
          <p:nvPr/>
        </p:nvGrpSpPr>
        <p:grpSpPr bwMode="auto">
          <a:xfrm>
            <a:off x="-424862" y="-18239"/>
            <a:ext cx="415862" cy="3061451"/>
            <a:chOff x="-374650" y="-17463"/>
            <a:chExt cx="366712" cy="2930526"/>
          </a:xfrm>
        </p:grpSpPr>
        <p:sp>
          <p:nvSpPr>
            <p:cNvPr id="14" name="Rectangle 13"/>
            <p:cNvSpPr>
              <a:spLocks noChangeArrowheads="1"/>
            </p:cNvSpPr>
            <p:nvPr userDrawn="1"/>
          </p:nvSpPr>
          <p:spPr bwMode="auto">
            <a:xfrm>
              <a:off x="-374650" y="-17463"/>
              <a:ext cx="366712" cy="366713"/>
            </a:xfrm>
            <a:prstGeom prst="rect">
              <a:avLst/>
            </a:prstGeom>
            <a:solidFill>
              <a:srgbClr val="CD202C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 defTabSz="1001480">
                <a:defRPr/>
              </a:pPr>
              <a:endParaRPr lang="en-US" sz="2000">
                <a:solidFill>
                  <a:prstClr val="white"/>
                </a:solidFill>
              </a:endParaRPr>
            </a:p>
          </p:txBody>
        </p:sp>
        <p:sp>
          <p:nvSpPr>
            <p:cNvPr id="15" name="Rectangle 14"/>
            <p:cNvSpPr>
              <a:spLocks noChangeArrowheads="1"/>
            </p:cNvSpPr>
            <p:nvPr userDrawn="1"/>
          </p:nvSpPr>
          <p:spPr bwMode="auto">
            <a:xfrm>
              <a:off x="-374650" y="349250"/>
              <a:ext cx="366712" cy="366713"/>
            </a:xfrm>
            <a:prstGeom prst="rect">
              <a:avLst/>
            </a:prstGeom>
            <a:solidFill>
              <a:srgbClr val="455D70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 defTabSz="1001480">
                <a:defRPr/>
              </a:pPr>
              <a:endParaRPr lang="en-US" sz="2000">
                <a:solidFill>
                  <a:prstClr val="white"/>
                </a:solidFill>
              </a:endParaRPr>
            </a:p>
          </p:txBody>
        </p:sp>
        <p:sp>
          <p:nvSpPr>
            <p:cNvPr id="16" name="Rectangle 15"/>
            <p:cNvSpPr>
              <a:spLocks noChangeArrowheads="1"/>
            </p:cNvSpPr>
            <p:nvPr userDrawn="1"/>
          </p:nvSpPr>
          <p:spPr bwMode="auto">
            <a:xfrm>
              <a:off x="-374650" y="715963"/>
              <a:ext cx="366712" cy="366712"/>
            </a:xfrm>
            <a:prstGeom prst="rect">
              <a:avLst/>
            </a:prstGeom>
            <a:solidFill>
              <a:srgbClr val="68798B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 defTabSz="1001480">
                <a:defRPr/>
              </a:pPr>
              <a:endParaRPr lang="en-US" sz="2000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>
              <a:spLocks noChangeArrowheads="1"/>
            </p:cNvSpPr>
            <p:nvPr userDrawn="1"/>
          </p:nvSpPr>
          <p:spPr bwMode="auto">
            <a:xfrm>
              <a:off x="-374650" y="1081088"/>
              <a:ext cx="366712" cy="366712"/>
            </a:xfrm>
            <a:prstGeom prst="rect">
              <a:avLst/>
            </a:prstGeom>
            <a:solidFill>
              <a:srgbClr val="909CAA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 defTabSz="1001480">
                <a:defRPr/>
              </a:pPr>
              <a:endParaRPr lang="en-US" sz="2000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>
              <a:spLocks noChangeArrowheads="1"/>
            </p:cNvSpPr>
            <p:nvPr userDrawn="1"/>
          </p:nvSpPr>
          <p:spPr bwMode="auto">
            <a:xfrm>
              <a:off x="-374650" y="1447800"/>
              <a:ext cx="366712" cy="366713"/>
            </a:xfrm>
            <a:prstGeom prst="rect">
              <a:avLst/>
            </a:prstGeom>
            <a:solidFill>
              <a:srgbClr val="BFC5CE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 defTabSz="1001480">
                <a:defRPr/>
              </a:pPr>
              <a:endParaRPr lang="en-US" sz="2000" dirty="0">
                <a:solidFill>
                  <a:prstClr val="white"/>
                </a:solidFill>
              </a:endParaRPr>
            </a:p>
          </p:txBody>
        </p:sp>
        <p:sp>
          <p:nvSpPr>
            <p:cNvPr id="19" name="Rectangle 18"/>
            <p:cNvSpPr>
              <a:spLocks noChangeArrowheads="1"/>
            </p:cNvSpPr>
            <p:nvPr userDrawn="1"/>
          </p:nvSpPr>
          <p:spPr bwMode="auto">
            <a:xfrm>
              <a:off x="-374650" y="1814513"/>
              <a:ext cx="366712" cy="366712"/>
            </a:xfrm>
            <a:prstGeom prst="rect">
              <a:avLst/>
            </a:prstGeom>
            <a:solidFill>
              <a:srgbClr val="A3A86B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 defTabSz="1001480">
                <a:defRPr/>
              </a:pPr>
              <a:endParaRPr lang="en-US" sz="2000" dirty="0">
                <a:solidFill>
                  <a:prstClr val="white"/>
                </a:solidFill>
              </a:endParaRPr>
            </a:p>
          </p:txBody>
        </p:sp>
        <p:sp>
          <p:nvSpPr>
            <p:cNvPr id="20" name="Rectangle 19"/>
            <p:cNvSpPr>
              <a:spLocks noChangeArrowheads="1"/>
            </p:cNvSpPr>
            <p:nvPr userDrawn="1"/>
          </p:nvSpPr>
          <p:spPr bwMode="auto">
            <a:xfrm>
              <a:off x="-374650" y="2181225"/>
              <a:ext cx="366712" cy="366713"/>
            </a:xfrm>
            <a:prstGeom prst="rect">
              <a:avLst/>
            </a:prstGeom>
            <a:solidFill>
              <a:srgbClr val="D3D7BD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 defTabSz="1001480">
                <a:defRPr/>
              </a:pPr>
              <a:endParaRPr lang="en-US" sz="2000" dirty="0">
                <a:solidFill>
                  <a:prstClr val="white"/>
                </a:solidFill>
              </a:endParaRPr>
            </a:p>
          </p:txBody>
        </p:sp>
        <p:sp>
          <p:nvSpPr>
            <p:cNvPr id="21" name="Rectangle 20"/>
            <p:cNvSpPr>
              <a:spLocks noChangeArrowheads="1"/>
            </p:cNvSpPr>
            <p:nvPr userDrawn="1"/>
          </p:nvSpPr>
          <p:spPr bwMode="auto">
            <a:xfrm>
              <a:off x="-374650" y="2546350"/>
              <a:ext cx="366712" cy="366713"/>
            </a:xfrm>
            <a:prstGeom prst="rect">
              <a:avLst/>
            </a:prstGeom>
            <a:solidFill>
              <a:srgbClr val="0066A1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 defTabSz="1001480">
                <a:defRPr/>
              </a:pPr>
              <a:endParaRPr lang="en-US" sz="20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49482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500689" rtl="0" eaLnBrk="1" fontAlgn="base" hangingPunct="1">
        <a:spcBef>
          <a:spcPct val="0"/>
        </a:spcBef>
        <a:spcAft>
          <a:spcPct val="0"/>
        </a:spcAft>
        <a:defRPr sz="2500" kern="1200">
          <a:solidFill>
            <a:schemeClr val="tx1"/>
          </a:solidFill>
          <a:latin typeface="+mj-lt"/>
          <a:ea typeface="ＭＳ Ｐゴシック" charset="-128"/>
          <a:cs typeface="ＭＳ Ｐゴシック" charset="-128"/>
        </a:defRPr>
      </a:lvl1pPr>
      <a:lvl2pPr algn="l" defTabSz="500689" rtl="0" eaLnBrk="1" fontAlgn="base" hangingPunct="1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Verdana" charset="0"/>
          <a:ea typeface="ＭＳ Ｐゴシック" charset="-128"/>
          <a:cs typeface="ＭＳ Ｐゴシック" charset="-128"/>
        </a:defRPr>
      </a:lvl2pPr>
      <a:lvl3pPr algn="l" defTabSz="500689" rtl="0" eaLnBrk="1" fontAlgn="base" hangingPunct="1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Verdana" charset="0"/>
          <a:ea typeface="ＭＳ Ｐゴシック" charset="-128"/>
          <a:cs typeface="ＭＳ Ｐゴシック" charset="-128"/>
        </a:defRPr>
      </a:lvl3pPr>
      <a:lvl4pPr algn="l" defTabSz="500689" rtl="0" eaLnBrk="1" fontAlgn="base" hangingPunct="1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Verdana" charset="0"/>
          <a:ea typeface="ＭＳ Ｐゴシック" charset="-128"/>
          <a:cs typeface="ＭＳ Ｐゴシック" charset="-128"/>
        </a:defRPr>
      </a:lvl4pPr>
      <a:lvl5pPr algn="l" defTabSz="500689" rtl="0" eaLnBrk="1" fontAlgn="base" hangingPunct="1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Verdana" charset="0"/>
          <a:ea typeface="ＭＳ Ｐゴシック" charset="-128"/>
          <a:cs typeface="ＭＳ Ｐゴシック" charset="-128"/>
        </a:defRPr>
      </a:lvl5pPr>
      <a:lvl6pPr marL="500689" algn="l" defTabSz="500689" rtl="0" eaLnBrk="1" fontAlgn="base" hangingPunct="1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Verdana" charset="0"/>
          <a:ea typeface="ＭＳ Ｐゴシック" charset="-128"/>
          <a:cs typeface="ＭＳ Ｐゴシック" charset="-128"/>
        </a:defRPr>
      </a:lvl6pPr>
      <a:lvl7pPr marL="1001380" algn="l" defTabSz="500689" rtl="0" eaLnBrk="1" fontAlgn="base" hangingPunct="1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Verdana" charset="0"/>
          <a:ea typeface="ＭＳ Ｐゴシック" charset="-128"/>
          <a:cs typeface="ＭＳ Ｐゴシック" charset="-128"/>
        </a:defRPr>
      </a:lvl7pPr>
      <a:lvl8pPr marL="1502068" algn="l" defTabSz="500689" rtl="0" eaLnBrk="1" fontAlgn="base" hangingPunct="1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Verdana" charset="0"/>
          <a:ea typeface="ＭＳ Ｐゴシック" charset="-128"/>
          <a:cs typeface="ＭＳ Ｐゴシック" charset="-128"/>
        </a:defRPr>
      </a:lvl8pPr>
      <a:lvl9pPr marL="2002756" algn="l" defTabSz="500689" rtl="0" eaLnBrk="1" fontAlgn="base" hangingPunct="1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Verdana" charset="0"/>
          <a:ea typeface="ＭＳ Ｐゴシック" charset="-128"/>
          <a:cs typeface="ＭＳ Ｐゴシック" charset="-128"/>
        </a:defRPr>
      </a:lvl9pPr>
    </p:titleStyle>
    <p:bodyStyle>
      <a:lvl1pPr marL="375518" indent="-375518" algn="l" defTabSz="500689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800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813621" indent="-312932" algn="l" defTabSz="500689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8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1251723" indent="-250343" algn="l" defTabSz="500689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800"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752412" indent="-250343" algn="l" defTabSz="500689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8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2253100" indent="-250343" algn="l" defTabSz="500689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8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2753792" indent="-250343" algn="l" defTabSz="500689" rtl="0" eaLnBrk="1" latinLnBrk="0" hangingPunct="1">
        <a:spcBef>
          <a:spcPct val="20000"/>
        </a:spcBef>
        <a:buFont typeface="Arial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54480" indent="-250343" algn="l" defTabSz="500689" rtl="0" eaLnBrk="1" latinLnBrk="0" hangingPunct="1">
        <a:spcBef>
          <a:spcPct val="20000"/>
        </a:spcBef>
        <a:buFont typeface="Arial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55169" indent="-250343" algn="l" defTabSz="500689" rtl="0" eaLnBrk="1" latinLnBrk="0" hangingPunct="1">
        <a:spcBef>
          <a:spcPct val="20000"/>
        </a:spcBef>
        <a:buFont typeface="Arial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55856" indent="-250343" algn="l" defTabSz="500689" rtl="0" eaLnBrk="1" latinLnBrk="0" hangingPunct="1">
        <a:spcBef>
          <a:spcPct val="20000"/>
        </a:spcBef>
        <a:buFont typeface="Arial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0068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0689" algn="l" defTabSz="50068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01380" algn="l" defTabSz="50068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02068" algn="l" defTabSz="50068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02756" algn="l" defTabSz="50068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03446" algn="l" defTabSz="50068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04136" algn="l" defTabSz="50068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04825" algn="l" defTabSz="50068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05513" algn="l" defTabSz="50068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098" y="8625"/>
            <a:ext cx="10375200" cy="7164000"/>
          </a:xfrm>
          <a:prstGeom prst="rect">
            <a:avLst/>
          </a:prstGeom>
        </p:spPr>
      </p:pic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54402" y="1262435"/>
            <a:ext cx="9689049" cy="557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7913" tIns="48954" rIns="97913" bIns="4895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smtClean="0"/>
              <a:t>Нажмите для редактирования</a:t>
            </a:r>
          </a:p>
          <a:p>
            <a:pPr lvl="0"/>
            <a:r>
              <a:rPr lang="ru-RU" dirty="0" smtClean="0"/>
              <a:t>Нажмите для ввода текста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029" name="TextBox 6"/>
          <p:cNvSpPr txBox="1">
            <a:spLocks noChangeArrowheads="1"/>
          </p:cNvSpPr>
          <p:nvPr/>
        </p:nvSpPr>
        <p:spPr bwMode="auto">
          <a:xfrm>
            <a:off x="151233" y="139319"/>
            <a:ext cx="197803" cy="375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7913" tIns="48954" rIns="97913" bIns="48954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endParaRPr lang="ru-RU" smtClean="0">
              <a:solidFill>
                <a:prstClr val="black"/>
              </a:solidFill>
              <a:latin typeface="Verdana" pitchFamily="34" charset="0"/>
              <a:cs typeface="Arial" charset="0"/>
            </a:endParaRPr>
          </a:p>
        </p:txBody>
      </p:sp>
      <p:grpSp>
        <p:nvGrpSpPr>
          <p:cNvPr id="1034" name="Group 12"/>
          <p:cNvGrpSpPr>
            <a:grpSpLocks/>
          </p:cNvGrpSpPr>
          <p:nvPr/>
        </p:nvGrpSpPr>
        <p:grpSpPr bwMode="auto">
          <a:xfrm>
            <a:off x="-424857" y="-18232"/>
            <a:ext cx="415862" cy="3061451"/>
            <a:chOff x="-374650" y="-17463"/>
            <a:chExt cx="366712" cy="2930526"/>
          </a:xfrm>
        </p:grpSpPr>
        <p:sp>
          <p:nvSpPr>
            <p:cNvPr id="14" name="Rectangle 13"/>
            <p:cNvSpPr>
              <a:spLocks noChangeArrowheads="1"/>
            </p:cNvSpPr>
            <p:nvPr userDrawn="1"/>
          </p:nvSpPr>
          <p:spPr bwMode="auto">
            <a:xfrm>
              <a:off x="-374650" y="-17463"/>
              <a:ext cx="366712" cy="366713"/>
            </a:xfrm>
            <a:prstGeom prst="rect">
              <a:avLst/>
            </a:prstGeom>
            <a:solidFill>
              <a:srgbClr val="CD202C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5" name="Rectangle 14"/>
            <p:cNvSpPr>
              <a:spLocks noChangeArrowheads="1"/>
            </p:cNvSpPr>
            <p:nvPr userDrawn="1"/>
          </p:nvSpPr>
          <p:spPr bwMode="auto">
            <a:xfrm>
              <a:off x="-374650" y="349250"/>
              <a:ext cx="366712" cy="366713"/>
            </a:xfrm>
            <a:prstGeom prst="rect">
              <a:avLst/>
            </a:prstGeom>
            <a:solidFill>
              <a:srgbClr val="455D70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6" name="Rectangle 15"/>
            <p:cNvSpPr>
              <a:spLocks noChangeArrowheads="1"/>
            </p:cNvSpPr>
            <p:nvPr userDrawn="1"/>
          </p:nvSpPr>
          <p:spPr bwMode="auto">
            <a:xfrm>
              <a:off x="-374650" y="715963"/>
              <a:ext cx="366712" cy="366712"/>
            </a:xfrm>
            <a:prstGeom prst="rect">
              <a:avLst/>
            </a:prstGeom>
            <a:solidFill>
              <a:srgbClr val="68798B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>
              <a:spLocks noChangeArrowheads="1"/>
            </p:cNvSpPr>
            <p:nvPr userDrawn="1"/>
          </p:nvSpPr>
          <p:spPr bwMode="auto">
            <a:xfrm>
              <a:off x="-374650" y="1081088"/>
              <a:ext cx="366712" cy="366712"/>
            </a:xfrm>
            <a:prstGeom prst="rect">
              <a:avLst/>
            </a:prstGeom>
            <a:solidFill>
              <a:srgbClr val="909CAA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>
              <a:spLocks noChangeArrowheads="1"/>
            </p:cNvSpPr>
            <p:nvPr userDrawn="1"/>
          </p:nvSpPr>
          <p:spPr bwMode="auto">
            <a:xfrm>
              <a:off x="-374650" y="1447800"/>
              <a:ext cx="366712" cy="366713"/>
            </a:xfrm>
            <a:prstGeom prst="rect">
              <a:avLst/>
            </a:prstGeom>
            <a:solidFill>
              <a:srgbClr val="BFC5CE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9" name="Rectangle 18"/>
            <p:cNvSpPr>
              <a:spLocks noChangeArrowheads="1"/>
            </p:cNvSpPr>
            <p:nvPr userDrawn="1"/>
          </p:nvSpPr>
          <p:spPr bwMode="auto">
            <a:xfrm>
              <a:off x="-374650" y="1814513"/>
              <a:ext cx="366712" cy="366712"/>
            </a:xfrm>
            <a:prstGeom prst="rect">
              <a:avLst/>
            </a:prstGeom>
            <a:solidFill>
              <a:srgbClr val="A3A86B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0" name="Rectangle 19"/>
            <p:cNvSpPr>
              <a:spLocks noChangeArrowheads="1"/>
            </p:cNvSpPr>
            <p:nvPr userDrawn="1"/>
          </p:nvSpPr>
          <p:spPr bwMode="auto">
            <a:xfrm>
              <a:off x="-374650" y="2181225"/>
              <a:ext cx="366712" cy="366713"/>
            </a:xfrm>
            <a:prstGeom prst="rect">
              <a:avLst/>
            </a:prstGeom>
            <a:solidFill>
              <a:srgbClr val="D3D7BD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" name="Rectangle 20"/>
            <p:cNvSpPr>
              <a:spLocks noChangeArrowheads="1"/>
            </p:cNvSpPr>
            <p:nvPr userDrawn="1"/>
          </p:nvSpPr>
          <p:spPr bwMode="auto">
            <a:xfrm>
              <a:off x="-374650" y="2546350"/>
              <a:ext cx="366712" cy="366713"/>
            </a:xfrm>
            <a:prstGeom prst="rect">
              <a:avLst/>
            </a:prstGeom>
            <a:solidFill>
              <a:srgbClr val="0066A1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2" name="Прямоугольник 21"/>
          <p:cNvSpPr/>
          <p:nvPr/>
        </p:nvSpPr>
        <p:spPr>
          <a:xfrm>
            <a:off x="9758427" y="6700030"/>
            <a:ext cx="538916" cy="338548"/>
          </a:xfrm>
          <a:prstGeom prst="rect">
            <a:avLst/>
          </a:prstGeom>
        </p:spPr>
        <p:txBody>
          <a:bodyPr wrap="none" lIns="91433" tIns="45717" rIns="91433" bIns="45717">
            <a:spAutoFit/>
          </a:bodyPr>
          <a:lstStyle/>
          <a:p>
            <a:pPr algn="ctr"/>
            <a:fld id="{D6C74929-B950-4BE6-9E99-130E6DA381FF}" type="slidenum">
              <a:rPr lang="ru-RU" sz="1600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pPr algn="ctr"/>
              <a:t>‹#›</a:t>
            </a:fld>
            <a:endParaRPr lang="ru-RU" sz="1600" dirty="0">
              <a:solidFill>
                <a:prstClr val="white">
                  <a:lumMod val="50000"/>
                </a:prstClr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18242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  <p:sldLayoutId id="2147483731" r:id="rId1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489564" rtl="0" eaLnBrk="1" fontAlgn="base" hangingPunct="1">
        <a:spcBef>
          <a:spcPct val="0"/>
        </a:spcBef>
        <a:spcAft>
          <a:spcPct val="0"/>
        </a:spcAft>
        <a:defRPr sz="2500" kern="1200">
          <a:solidFill>
            <a:schemeClr val="tx1"/>
          </a:solidFill>
          <a:latin typeface="+mj-lt"/>
          <a:ea typeface="ＭＳ Ｐゴシック" charset="-128"/>
          <a:cs typeface="ＭＳ Ｐゴシック" charset="-128"/>
        </a:defRPr>
      </a:lvl1pPr>
      <a:lvl2pPr algn="l" defTabSz="489564" rtl="0" eaLnBrk="1" fontAlgn="base" hangingPunct="1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Verdana" charset="0"/>
          <a:ea typeface="ＭＳ Ｐゴシック" charset="-128"/>
          <a:cs typeface="ＭＳ Ｐゴシック" charset="-128"/>
        </a:defRPr>
      </a:lvl2pPr>
      <a:lvl3pPr algn="l" defTabSz="489564" rtl="0" eaLnBrk="1" fontAlgn="base" hangingPunct="1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Verdana" charset="0"/>
          <a:ea typeface="ＭＳ Ｐゴシック" charset="-128"/>
          <a:cs typeface="ＭＳ Ｐゴシック" charset="-128"/>
        </a:defRPr>
      </a:lvl3pPr>
      <a:lvl4pPr algn="l" defTabSz="489564" rtl="0" eaLnBrk="1" fontAlgn="base" hangingPunct="1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Verdana" charset="0"/>
          <a:ea typeface="ＭＳ Ｐゴシック" charset="-128"/>
          <a:cs typeface="ＭＳ Ｐゴシック" charset="-128"/>
        </a:defRPr>
      </a:lvl4pPr>
      <a:lvl5pPr algn="l" defTabSz="489564" rtl="0" eaLnBrk="1" fontAlgn="base" hangingPunct="1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Verdana" charset="0"/>
          <a:ea typeface="ＭＳ Ｐゴシック" charset="-128"/>
          <a:cs typeface="ＭＳ Ｐゴシック" charset="-128"/>
        </a:defRPr>
      </a:lvl5pPr>
      <a:lvl6pPr marL="489564" algn="l" defTabSz="489564" rtl="0" eaLnBrk="1" fontAlgn="base" hangingPunct="1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Verdana" charset="0"/>
          <a:ea typeface="ＭＳ Ｐゴシック" charset="-128"/>
          <a:cs typeface="ＭＳ Ｐゴシック" charset="-128"/>
        </a:defRPr>
      </a:lvl6pPr>
      <a:lvl7pPr marL="979131" algn="l" defTabSz="489564" rtl="0" eaLnBrk="1" fontAlgn="base" hangingPunct="1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Verdana" charset="0"/>
          <a:ea typeface="ＭＳ Ｐゴシック" charset="-128"/>
          <a:cs typeface="ＭＳ Ｐゴシック" charset="-128"/>
        </a:defRPr>
      </a:lvl7pPr>
      <a:lvl8pPr marL="1468697" algn="l" defTabSz="489564" rtl="0" eaLnBrk="1" fontAlgn="base" hangingPunct="1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Verdana" charset="0"/>
          <a:ea typeface="ＭＳ Ｐゴシック" charset="-128"/>
          <a:cs typeface="ＭＳ Ｐゴシック" charset="-128"/>
        </a:defRPr>
      </a:lvl8pPr>
      <a:lvl9pPr marL="1958261" algn="l" defTabSz="489564" rtl="0" eaLnBrk="1" fontAlgn="base" hangingPunct="1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Verdana" charset="0"/>
          <a:ea typeface="ＭＳ Ｐゴシック" charset="-128"/>
          <a:cs typeface="ＭＳ Ｐゴシック" charset="-128"/>
        </a:defRPr>
      </a:lvl9pPr>
    </p:titleStyle>
    <p:bodyStyle>
      <a:lvl1pPr marL="367172" indent="-367172" algn="l" defTabSz="489564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795546" indent="-305978" algn="l" defTabSz="489564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1223915" indent="-244781" algn="l" defTabSz="489564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713478" indent="-244781" algn="l" defTabSz="489564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2203044" indent="-244781" algn="l" defTabSz="489564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2692609" indent="-244781" algn="l" defTabSz="489564" rtl="0" eaLnBrk="1" latinLnBrk="0" hangingPunct="1">
        <a:spcBef>
          <a:spcPct val="2000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82174" indent="-244781" algn="l" defTabSz="489564" rtl="0" eaLnBrk="1" latinLnBrk="0" hangingPunct="1">
        <a:spcBef>
          <a:spcPct val="2000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71743" indent="-244781" algn="l" defTabSz="489564" rtl="0" eaLnBrk="1" latinLnBrk="0" hangingPunct="1">
        <a:spcBef>
          <a:spcPct val="2000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1305" indent="-244781" algn="l" defTabSz="489564" rtl="0" eaLnBrk="1" latinLnBrk="0" hangingPunct="1">
        <a:spcBef>
          <a:spcPct val="2000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895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89564" algn="l" defTabSz="4895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79131" algn="l" defTabSz="4895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68697" algn="l" defTabSz="4895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958261" algn="l" defTabSz="4895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447826" algn="l" defTabSz="4895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37394" algn="l" defTabSz="4895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6958" algn="l" defTabSz="4895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916524" algn="l" defTabSz="4895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2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2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9.png"/><Relationship Id="rId7" Type="http://schemas.openxmlformats.org/officeDocument/2006/relationships/chart" Target="../charts/chart4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3.xml"/><Relationship Id="rId11" Type="http://schemas.microsoft.com/office/2007/relationships/hdphoto" Target="../media/hdphoto3.wdp"/><Relationship Id="rId5" Type="http://schemas.openxmlformats.org/officeDocument/2006/relationships/chart" Target="../charts/chart2.xml"/><Relationship Id="rId10" Type="http://schemas.openxmlformats.org/officeDocument/2006/relationships/image" Target="../media/image11.png"/><Relationship Id="rId4" Type="http://schemas.microsoft.com/office/2007/relationships/hdphoto" Target="../media/hdphoto1.wdp"/><Relationship Id="rId9" Type="http://schemas.microsoft.com/office/2007/relationships/hdphoto" Target="../media/hdphoto2.wdp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microsoft.com/office/2007/relationships/hdphoto" Target="../media/hdphoto6.wdp"/><Relationship Id="rId18" Type="http://schemas.openxmlformats.org/officeDocument/2006/relationships/image" Target="../media/image22.jpeg"/><Relationship Id="rId26" Type="http://schemas.openxmlformats.org/officeDocument/2006/relationships/chart" Target="../charts/chart12.xml"/><Relationship Id="rId3" Type="http://schemas.openxmlformats.org/officeDocument/2006/relationships/image" Target="../media/image13.gif"/><Relationship Id="rId21" Type="http://schemas.openxmlformats.org/officeDocument/2006/relationships/hyperlink" Target="http://images.yandex.ru/" TargetMode="External"/><Relationship Id="rId7" Type="http://schemas.openxmlformats.org/officeDocument/2006/relationships/image" Target="../media/image17.jpeg"/><Relationship Id="rId12" Type="http://schemas.openxmlformats.org/officeDocument/2006/relationships/image" Target="../media/image20.png"/><Relationship Id="rId17" Type="http://schemas.openxmlformats.org/officeDocument/2006/relationships/chart" Target="../charts/chart6.xml"/><Relationship Id="rId25" Type="http://schemas.openxmlformats.org/officeDocument/2006/relationships/chart" Target="../charts/chart11.xml"/><Relationship Id="rId2" Type="http://schemas.openxmlformats.org/officeDocument/2006/relationships/image" Target="../media/image12.png"/><Relationship Id="rId16" Type="http://schemas.openxmlformats.org/officeDocument/2006/relationships/chart" Target="../charts/chart5.xml"/><Relationship Id="rId20" Type="http://schemas.openxmlformats.org/officeDocument/2006/relationships/chart" Target="../charts/chart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jpg"/><Relationship Id="rId11" Type="http://schemas.microsoft.com/office/2007/relationships/hdphoto" Target="../media/hdphoto5.wdp"/><Relationship Id="rId24" Type="http://schemas.openxmlformats.org/officeDocument/2006/relationships/chart" Target="../charts/chart10.xml"/><Relationship Id="rId5" Type="http://schemas.openxmlformats.org/officeDocument/2006/relationships/image" Target="../media/image15.png"/><Relationship Id="rId15" Type="http://schemas.microsoft.com/office/2007/relationships/hdphoto" Target="../media/hdphoto7.wdp"/><Relationship Id="rId23" Type="http://schemas.openxmlformats.org/officeDocument/2006/relationships/chart" Target="../charts/chart9.xml"/><Relationship Id="rId10" Type="http://schemas.openxmlformats.org/officeDocument/2006/relationships/image" Target="../media/image19.png"/><Relationship Id="rId19" Type="http://schemas.openxmlformats.org/officeDocument/2006/relationships/chart" Target="../charts/chart7.xml"/><Relationship Id="rId4" Type="http://schemas.openxmlformats.org/officeDocument/2006/relationships/image" Target="../media/image14.png"/><Relationship Id="rId9" Type="http://schemas.microsoft.com/office/2007/relationships/hdphoto" Target="../media/hdphoto4.wdp"/><Relationship Id="rId14" Type="http://schemas.openxmlformats.org/officeDocument/2006/relationships/image" Target="../media/image21.png"/><Relationship Id="rId22" Type="http://schemas.openxmlformats.org/officeDocument/2006/relationships/image" Target="../media/image23.jp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://www.ruscoal.ru/" TargetMode="External"/><Relationship Id="rId13" Type="http://schemas.openxmlformats.org/officeDocument/2006/relationships/hyperlink" Target="http://naaco.ru/" TargetMode="External"/><Relationship Id="rId18" Type="http://schemas.openxmlformats.org/officeDocument/2006/relationships/image" Target="../media/image33.jpeg"/><Relationship Id="rId3" Type="http://schemas.openxmlformats.org/officeDocument/2006/relationships/chart" Target="../charts/chart13.xml"/><Relationship Id="rId7" Type="http://schemas.openxmlformats.org/officeDocument/2006/relationships/image" Target="../media/image25.png"/><Relationship Id="rId12" Type="http://schemas.openxmlformats.org/officeDocument/2006/relationships/image" Target="../media/image28.png"/><Relationship Id="rId17" Type="http://schemas.openxmlformats.org/officeDocument/2006/relationships/image" Target="../media/image32.jpe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31.gif"/><Relationship Id="rId20" Type="http://schemas.openxmlformats.org/officeDocument/2006/relationships/chart" Target="../charts/chart14.xml"/><Relationship Id="rId1" Type="http://schemas.openxmlformats.org/officeDocument/2006/relationships/slideLayout" Target="../slideLayouts/slideLayout12.xml"/><Relationship Id="rId6" Type="http://schemas.openxmlformats.org/officeDocument/2006/relationships/hyperlink" Target="http://www.google.ru/url?sa=i&amp;rct=j&amp;q=%D1%80%D1%83%D1%81%D0%B0%D0%BB&amp;source=images&amp;cd=&amp;cad=rja&amp;docid=3zc29ftEcW5i6M&amp;tbnid=swKAUpyUWUH3hM:&amp;ved=0CAUQjRw&amp;url=http://toplogos.ru/logo-rusal/&amp;ei=4eKQUZn9Aamn4ASl7IGYCA&amp;bvm=bv.46340616,d.bGE&amp;psig=AFQjCNFvLhqy0Hl_3OX90bua3GeCnv0QCw&amp;ust=1368536144727379" TargetMode="External"/><Relationship Id="rId11" Type="http://schemas.openxmlformats.org/officeDocument/2006/relationships/image" Target="../media/image27.jpeg"/><Relationship Id="rId5" Type="http://schemas.openxmlformats.org/officeDocument/2006/relationships/image" Target="../media/image24.jpeg"/><Relationship Id="rId15" Type="http://schemas.openxmlformats.org/officeDocument/2006/relationships/image" Target="../media/image30.jpg"/><Relationship Id="rId10" Type="http://schemas.openxmlformats.org/officeDocument/2006/relationships/hyperlink" Target="http://images.yandex.ru/" TargetMode="External"/><Relationship Id="rId19" Type="http://schemas.openxmlformats.org/officeDocument/2006/relationships/image" Target="../media/image34.jpeg"/><Relationship Id="rId4" Type="http://schemas.openxmlformats.org/officeDocument/2006/relationships/hyperlink" Target="http://www.google.ru/url?sa=i&amp;source=images&amp;cd=&amp;cad=rja&amp;docid=e3MUyuEIvAIzsM&amp;tbnid=UaqYqsuqTZhOMM:&amp;ved=0CAgQjRwwAA&amp;url=http://politsib.ru/news/59057&amp;ei=rOKQUY4G8efhBIWQgKAL&amp;psig=AFQjCNENZfSVsVD7ObW1fWQdxzZSudX-1Q&amp;ust=1368536108067636" TargetMode="External"/><Relationship Id="rId9" Type="http://schemas.openxmlformats.org/officeDocument/2006/relationships/image" Target="../media/image26.gif"/><Relationship Id="rId14" Type="http://schemas.openxmlformats.org/officeDocument/2006/relationships/image" Target="../media/image29.gi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7.xml"/><Relationship Id="rId3" Type="http://schemas.openxmlformats.org/officeDocument/2006/relationships/tags" Target="../tags/tag3.xml"/><Relationship Id="rId7" Type="http://schemas.openxmlformats.org/officeDocument/2006/relationships/chart" Target="../charts/chart16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chart" Target="../charts/chart15.xml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eg"/><Relationship Id="rId3" Type="http://schemas.openxmlformats.org/officeDocument/2006/relationships/image" Target="../media/image35.jpeg"/><Relationship Id="rId7" Type="http://schemas.openxmlformats.org/officeDocument/2006/relationships/image" Target="../media/image3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37.jpeg"/><Relationship Id="rId11" Type="http://schemas.openxmlformats.org/officeDocument/2006/relationships/image" Target="../media/image42.png"/><Relationship Id="rId5" Type="http://schemas.openxmlformats.org/officeDocument/2006/relationships/image" Target="../media/image36.jpeg"/><Relationship Id="rId10" Type="http://schemas.openxmlformats.org/officeDocument/2006/relationships/image" Target="../media/image41.png"/><Relationship Id="rId4" Type="http://schemas.microsoft.com/office/2007/relationships/hdphoto" Target="../media/hdphoto8.wdp"/><Relationship Id="rId9" Type="http://schemas.openxmlformats.org/officeDocument/2006/relationships/image" Target="../media/image4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hyperlink" Target="http://images.yandex.ru/yandsearch?source=psearch&amp;text=%D0%B8%D0%BD%D1%84%D0%BE%D1%80%D0%BC%D0%B0%D1%86%D0%B8%D0%BE%D0%BD%D0%BD%D0%B0%D1%8F%20%D1%81%D0%B8%D1%81%D1%82%D0%B5%D0%BC%D0%B0&amp;img_url=http://nyshei.files.wordpress.com/2007/05/info_ethics1.jpg&amp;pos=7&amp;uinfo=sw-1903-sh-985-fw-0-fh-598-pd-1&amp;rpt=simage&amp;lr=213" TargetMode="External"/><Relationship Id="rId1" Type="http://schemas.openxmlformats.org/officeDocument/2006/relationships/slideLayout" Target="../slideLayouts/slideLayout2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65970"/>
            <a:ext cx="10364400" cy="2449398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" name="Текст 6"/>
          <p:cNvSpPr>
            <a:spLocks noGrp="1"/>
          </p:cNvSpPr>
          <p:nvPr>
            <p:ph type="body" sz="quarter" idx="11"/>
          </p:nvPr>
        </p:nvSpPr>
        <p:spPr>
          <a:xfrm>
            <a:off x="216223" y="6534522"/>
            <a:ext cx="7257766" cy="312860"/>
          </a:xfrm>
        </p:spPr>
        <p:txBody>
          <a:bodyPr/>
          <a:lstStyle/>
          <a:p>
            <a:r>
              <a:rPr lang="ru-RU" dirty="0" smtClean="0"/>
              <a:t>г. Хабаровск, апрель 2014 г.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/>
          </p:nvPr>
        </p:nvSpPr>
        <p:spPr>
          <a:xfrm>
            <a:off x="72207" y="5598418"/>
            <a:ext cx="9001000" cy="652862"/>
          </a:xfrm>
        </p:spPr>
        <p:txBody>
          <a:bodyPr/>
          <a:lstStyle/>
          <a:p>
            <a:r>
              <a:rPr lang="ru-RU" dirty="0" smtClean="0"/>
              <a:t>Силко И.В., заместитель директора по коммерции Хабаровского филиала ОАО «ФГК»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16223" y="4027120"/>
            <a:ext cx="9937104" cy="1499290"/>
          </a:xfrm>
        </p:spPr>
        <p:txBody>
          <a:bodyPr/>
          <a:lstStyle/>
          <a:p>
            <a:r>
              <a:rPr lang="ru-RU" sz="2400" b="1" dirty="0" smtClean="0"/>
              <a:t/>
            </a:r>
            <a:br>
              <a:rPr lang="ru-RU" sz="2400" b="1" dirty="0" smtClean="0"/>
            </a:br>
            <a:r>
              <a:rPr lang="ru-RU" sz="2400" b="1" dirty="0" smtClean="0"/>
              <a:t>ОАО «Федеральная грузовая компания» - три года на операторском рынке</a:t>
            </a:r>
            <a:endParaRPr lang="ru-RU" sz="2400" b="1" dirty="0"/>
          </a:p>
        </p:txBody>
      </p:sp>
    </p:spTree>
    <p:extLst>
      <p:ext uri="{BB962C8B-B14F-4D97-AF65-F5344CB8AC3E}">
        <p14:creationId xmlns:p14="http://schemas.microsoft.com/office/powerpoint/2010/main" val="172282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/>
              <a:t>Доля ОАО «ФГК» на Дальневосточной </a:t>
            </a:r>
            <a:r>
              <a:rPr lang="ru-RU" b="1" dirty="0" err="1"/>
              <a:t>ж.д</a:t>
            </a:r>
            <a:r>
              <a:rPr lang="ru-RU" b="1" dirty="0"/>
              <a:t>.              по РПС в 2014 году</a:t>
            </a:r>
            <a:endParaRPr lang="ru-RU" dirty="0"/>
          </a:p>
        </p:txBody>
      </p:sp>
      <p:graphicFrame>
        <p:nvGraphicFramePr>
          <p:cNvPr id="3" name="Диаграмма 2"/>
          <p:cNvGraphicFramePr/>
          <p:nvPr>
            <p:extLst>
              <p:ext uri="{D42A27DB-BD31-4B8C-83A1-F6EECF244321}">
                <p14:modId xmlns:p14="http://schemas.microsoft.com/office/powerpoint/2010/main" val="986003853"/>
              </p:ext>
            </p:extLst>
          </p:nvPr>
        </p:nvGraphicFramePr>
        <p:xfrm>
          <a:off x="1728258" y="1277849"/>
          <a:ext cx="6913033" cy="46086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14244875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/>
              <a:t>ОАО «ФГК» совместно с ОАО «РЖД» участвует в реализации проекта по организации контрейлерных </a:t>
            </a:r>
            <a:r>
              <a:rPr lang="ru-RU" dirty="0" smtClean="0"/>
              <a:t>перевозок. Контрейлерные перевозки представляют собой перевозку грузовых автотранспортных средств на железнодорожной платформе, что обеспечивает значительно более высокую скорость и снижает затраты на прохождение загруженных и проблемных участков автодорог.</a:t>
            </a:r>
          </a:p>
          <a:p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/>
              <a:t>Контрейлерные перевозки - новый продукт                                                    на операторском рынке России</a:t>
            </a:r>
            <a:endParaRPr lang="ru-RU" dirty="0"/>
          </a:p>
        </p:txBody>
      </p:sp>
      <p:pic>
        <p:nvPicPr>
          <p:cNvPr id="3074" name="Picture 2" descr="C:\Users\NikolaevaTY\Pictures\8%20(1)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8488" y="2574082"/>
            <a:ext cx="4940831" cy="37444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023453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16223" y="53802"/>
            <a:ext cx="7653600" cy="953775"/>
          </a:xfrm>
        </p:spPr>
        <p:txBody>
          <a:bodyPr/>
          <a:lstStyle/>
          <a:p>
            <a:pPr>
              <a:lnSpc>
                <a:spcPts val="2191"/>
              </a:lnSpc>
              <a:defRPr/>
            </a:pPr>
            <a:r>
              <a:rPr lang="ru-RU" b="1" dirty="0"/>
              <a:t>Контрейлерные перевозки - новый продукт                                                    на операторском рынке России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 smtClean="0"/>
              <a:t>По </a:t>
            </a:r>
            <a:r>
              <a:rPr lang="ru-RU" dirty="0"/>
              <a:t>заказу ОАО «ФГК» разработана новая модель вагона - контрейлерно-контейнерная платформа, позволяющая осуществлять перевозку автопоездов с трейлером, а также полуприцепов, прицепов и крупнотоннажных контейнеров. </a:t>
            </a:r>
          </a:p>
        </p:txBody>
      </p:sp>
      <p:pic>
        <p:nvPicPr>
          <p:cNvPr id="2050" name="Picture 2" descr="C:\Users\NikolaevaTY\Pictures\untitled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0319" y="2358058"/>
            <a:ext cx="6696744" cy="44666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400824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320273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Диаграмма 4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58848329"/>
              </p:ext>
            </p:extLst>
          </p:nvPr>
        </p:nvGraphicFramePr>
        <p:xfrm>
          <a:off x="5724920" y="4354049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0" name="TextBox 39"/>
          <p:cNvSpPr txBox="1"/>
          <p:nvPr/>
        </p:nvSpPr>
        <p:spPr>
          <a:xfrm>
            <a:off x="60762" y="375754"/>
            <a:ext cx="9757010" cy="372537"/>
          </a:xfrm>
          <a:prstGeom prst="rect">
            <a:avLst/>
          </a:prstGeom>
          <a:noFill/>
        </p:spPr>
        <p:txBody>
          <a:bodyPr wrap="square" lIns="94611" tIns="47307" rIns="94611" bIns="47307" rtlCol="0">
            <a:spAutoFit/>
          </a:bodyPr>
          <a:lstStyle/>
          <a:p>
            <a:r>
              <a:rPr lang="ru-RU" b="1" dirty="0" smtClean="0"/>
              <a:t> ОАО «ФГК» 3 года</a:t>
            </a:r>
            <a:r>
              <a:rPr lang="ru-RU" sz="1800" b="1" dirty="0" smtClean="0"/>
              <a:t> </a:t>
            </a:r>
            <a:endParaRPr lang="ru-RU" sz="1800" b="1" dirty="0" smtClean="0">
              <a:latin typeface="+mj-lt"/>
            </a:endParaRPr>
          </a:p>
        </p:txBody>
      </p:sp>
      <p:sp>
        <p:nvSpPr>
          <p:cNvPr id="46" name="Скругленный прямоугольник 45"/>
          <p:cNvSpPr/>
          <p:nvPr/>
        </p:nvSpPr>
        <p:spPr>
          <a:xfrm>
            <a:off x="-31017" y="1133922"/>
            <a:ext cx="5287799" cy="530381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0191" tIns="50095" rIns="100191" bIns="50095" rtlCol="0" anchor="ctr"/>
          <a:lstStyle/>
          <a:p>
            <a:pPr algn="ctr"/>
            <a:r>
              <a:rPr lang="ru-RU" sz="1400" b="1" i="1" dirty="0" smtClean="0">
                <a:solidFill>
                  <a:srgbClr val="C00000"/>
                </a:solidFill>
                <a:cs typeface="Arial" pitchFamily="34" charset="0"/>
              </a:rPr>
              <a:t>Доля ОАО «ФГК» в грузообороте </a:t>
            </a:r>
          </a:p>
          <a:p>
            <a:pPr algn="ctr"/>
            <a:r>
              <a:rPr lang="ru-RU" sz="1400" b="1" i="1" dirty="0" smtClean="0">
                <a:solidFill>
                  <a:srgbClr val="C00000"/>
                </a:solidFill>
                <a:cs typeface="Arial" pitchFamily="34" charset="0"/>
              </a:rPr>
              <a:t>на сети РЖД в 2011 – 2013 </a:t>
            </a:r>
            <a:r>
              <a:rPr lang="ru-RU" sz="1400" b="1" i="1" dirty="0" err="1" smtClean="0">
                <a:solidFill>
                  <a:srgbClr val="C00000"/>
                </a:solidFill>
                <a:cs typeface="Arial" pitchFamily="34" charset="0"/>
              </a:rPr>
              <a:t>гг</a:t>
            </a:r>
            <a:endParaRPr lang="ru-RU" sz="1600" b="1" i="1" dirty="0" smtClean="0">
              <a:solidFill>
                <a:srgbClr val="C00000"/>
              </a:solidFill>
            </a:endParaRPr>
          </a:p>
        </p:txBody>
      </p:sp>
      <p:sp>
        <p:nvSpPr>
          <p:cNvPr id="72" name="Скругленный прямоугольник 71"/>
          <p:cNvSpPr/>
          <p:nvPr/>
        </p:nvSpPr>
        <p:spPr>
          <a:xfrm>
            <a:off x="93372" y="1896421"/>
            <a:ext cx="1722134" cy="530381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0191" tIns="50095" rIns="100191" bIns="50095"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cs typeface="Arial" pitchFamily="34" charset="0"/>
              </a:rPr>
              <a:t>Полувагоны</a:t>
            </a:r>
            <a:endParaRPr lang="ru-RU" sz="1600" b="1" dirty="0" smtClean="0">
              <a:solidFill>
                <a:schemeClr val="tx1"/>
              </a:solidFill>
            </a:endParaRPr>
          </a:p>
        </p:txBody>
      </p:sp>
      <p:pic>
        <p:nvPicPr>
          <p:cNvPr id="73" name="Picture 8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9935" b="79849" l="18319" r="81968">
                        <a14:foregroundMark x1="61458" y1="42888" x2="61458" y2="42888"/>
                        <a14:foregroundMark x1="64188" y1="41433" x2="64188" y2="41433"/>
                        <a14:foregroundMark x1="62428" y1="44881" x2="62428" y2="44881"/>
                        <a14:foregroundMark x1="58154" y1="43696" x2="58154" y2="43696"/>
                        <a14:foregroundMark x1="56214" y1="43696" x2="56214" y2="43696"/>
                        <a14:foregroundMark x1="53412" y1="43427" x2="53412" y2="43427"/>
                        <a14:foregroundMark x1="76904" y1="22899" x2="76904" y2="22899"/>
                        <a14:foregroundMark x1="78412" y1="23276" x2="78412" y2="23276"/>
                        <a14:foregroundMark x1="79885" y1="24353" x2="79885" y2="24353"/>
                        <a14:foregroundMark x1="79741" y1="30496" x2="79741" y2="30496"/>
                        <a14:foregroundMark x1="61818" y1="40894" x2="61818" y2="40894"/>
                        <a14:foregroundMark x1="61638" y1="44343" x2="61638" y2="44343"/>
                        <a14:foregroundMark x1="64116" y1="37769" x2="64116" y2="37769"/>
                        <a14:foregroundMark x1="59124" y1="41595" x2="59124" y2="41595"/>
                        <a14:foregroundMark x1="56214" y1="75862" x2="56214" y2="75862"/>
                        <a14:foregroundMark x1="56825" y1="76024" x2="56825" y2="76024"/>
                        <a14:foregroundMark x1="55316" y1="75108" x2="55316" y2="75108"/>
                        <a14:foregroundMark x1="54705" y1="73707" x2="54705" y2="73707"/>
                        <a14:foregroundMark x1="54885" y1="74353" x2="54885" y2="74353"/>
                        <a14:foregroundMark x1="24641" y1="71606" x2="24641" y2="71606"/>
                        <a14:foregroundMark x1="53772" y1="45528" x2="53772" y2="45528"/>
                        <a14:foregroundMark x1="55783" y1="42565" x2="55783" y2="42565"/>
                        <a14:backgroundMark x1="79921" y1="77963" x2="79921" y2="77963"/>
                        <a14:backgroundMark x1="81573" y1="70797" x2="81573" y2="70797"/>
                        <a14:backgroundMark x1="81537" y1="67134" x2="81537" y2="67134"/>
                        <a14:backgroundMark x1="74102" y1="74731" x2="74102" y2="74731"/>
                        <a14:backgroundMark x1="22557" y1="69235" x2="22557" y2="69235"/>
                        <a14:backgroundMark x1="21372" y1="69397" x2="21372" y2="69397"/>
                        <a14:backgroundMark x1="21695" y1="67403" x2="21695" y2="67403"/>
                        <a14:backgroundMark x1="19899" y1="66379" x2="19899" y2="66379"/>
                        <a14:backgroundMark x1="20043" y1="64278" x2="20043" y2="64278"/>
                        <a14:backgroundMark x1="22486" y1="68373" x2="22486" y2="68373"/>
                        <a14:backgroundMark x1="22665" y1="70797" x2="22665" y2="70797"/>
                        <a14:backgroundMark x1="20654" y1="68858" x2="20654" y2="68858"/>
                        <a14:backgroundMark x1="19361" y1="67834" x2="19361" y2="67834"/>
                        <a14:backgroundMark x1="98060" y1="18319" x2="98060" y2="1831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8401" t="19857" r="18081" b="20918"/>
          <a:stretch/>
        </p:blipFill>
        <p:spPr bwMode="auto">
          <a:xfrm>
            <a:off x="360635" y="2330889"/>
            <a:ext cx="1167541" cy="57162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6" name="Диаграмма 7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06393998"/>
              </p:ext>
            </p:extLst>
          </p:nvPr>
        </p:nvGraphicFramePr>
        <p:xfrm>
          <a:off x="1759352" y="1896421"/>
          <a:ext cx="3497431" cy="12909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9" name="Диаграмма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55744383"/>
              </p:ext>
            </p:extLst>
          </p:nvPr>
        </p:nvGraphicFramePr>
        <p:xfrm>
          <a:off x="1805071" y="3006130"/>
          <a:ext cx="3451712" cy="12909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0" name="Диаграмма 1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20003133"/>
              </p:ext>
            </p:extLst>
          </p:nvPr>
        </p:nvGraphicFramePr>
        <p:xfrm>
          <a:off x="1815506" y="4066017"/>
          <a:ext cx="3441277" cy="12909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1" name="Скругленный прямоугольник 20"/>
          <p:cNvSpPr/>
          <p:nvPr/>
        </p:nvSpPr>
        <p:spPr>
          <a:xfrm>
            <a:off x="-31015" y="3128177"/>
            <a:ext cx="1918227" cy="530381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0191" tIns="50095" rIns="100191" bIns="50095"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cs typeface="Arial" pitchFamily="34" charset="0"/>
              </a:rPr>
              <a:t>Крытые вагоны</a:t>
            </a:r>
            <a:endParaRPr lang="ru-RU" sz="1600" b="1" dirty="0" smtClean="0">
              <a:solidFill>
                <a:schemeClr val="tx1"/>
              </a:solidFill>
            </a:endParaRPr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6012" b="87097" l="19336" r="9052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9472" t="5416" r="9501" b="13119"/>
          <a:stretch/>
        </p:blipFill>
        <p:spPr bwMode="auto">
          <a:xfrm>
            <a:off x="338295" y="3548164"/>
            <a:ext cx="1014270" cy="5889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Скругленный прямоугольник 22"/>
          <p:cNvSpPr/>
          <p:nvPr/>
        </p:nvSpPr>
        <p:spPr>
          <a:xfrm>
            <a:off x="11150" y="4354049"/>
            <a:ext cx="1918227" cy="530381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0191" tIns="50095" rIns="100191" bIns="50095"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cs typeface="Arial" pitchFamily="34" charset="0"/>
              </a:rPr>
              <a:t>Платформы </a:t>
            </a:r>
            <a:r>
              <a:rPr lang="ru-RU" sz="1400" b="1" dirty="0" err="1" smtClean="0">
                <a:solidFill>
                  <a:schemeClr val="tx1"/>
                </a:solidFill>
                <a:cs typeface="Arial" pitchFamily="34" charset="0"/>
              </a:rPr>
              <a:t>ун</a:t>
            </a:r>
            <a:r>
              <a:rPr lang="ru-RU" sz="1400" b="1" dirty="0" smtClean="0">
                <a:solidFill>
                  <a:schemeClr val="tx1"/>
                </a:solidFill>
                <a:cs typeface="Arial" pitchFamily="34" charset="0"/>
              </a:rPr>
              <a:t>.</a:t>
            </a:r>
            <a:endParaRPr lang="ru-RU" sz="1600" b="1" dirty="0" smtClean="0">
              <a:solidFill>
                <a:schemeClr val="tx1"/>
              </a:solidFill>
            </a:endParaRPr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9804" b="89706" l="4590" r="100000">
                        <a14:backgroundMark x1="86230" y1="32843" x2="86230" y2="32843"/>
                        <a14:backgroundMark x1="93066" y1="37092" x2="93066" y2="37092"/>
                        <a14:backgroundMark x1="93652" y1="59477" x2="93652" y2="59477"/>
                        <a14:backgroundMark x1="97168" y1="71078" x2="97168" y2="71078"/>
                        <a14:backgroundMark x1="97754" y1="64706" x2="97754" y2="64706"/>
                        <a14:backgroundMark x1="74805" y1="73203" x2="74805" y2="73203"/>
                        <a14:backgroundMark x1="87305" y1="75327" x2="87305" y2="75327"/>
                        <a14:backgroundMark x1="91895" y1="77451" x2="91895" y2="77451"/>
                        <a14:backgroundMark x1="95117" y1="76144" x2="95117" y2="76144"/>
                        <a14:backgroundMark x1="83789" y1="79248" x2="83789" y2="79248"/>
                        <a14:backgroundMark x1="58691" y1="74020" x2="58691" y2="74020"/>
                        <a14:backgroundMark x1="64063" y1="72876" x2="64063" y2="72876"/>
                        <a14:backgroundMark x1="68750" y1="73203" x2="68750" y2="73203"/>
                        <a14:backgroundMark x1="73242" y1="72386" x2="73242" y2="72386"/>
                        <a14:backgroundMark x1="62598" y1="74183" x2="62598" y2="74183"/>
                        <a14:backgroundMark x1="31738" y1="60131" x2="31738" y2="60131"/>
                        <a14:backgroundMark x1="34863" y1="60784" x2="34863" y2="60784"/>
                        <a14:backgroundMark x1="44141" y1="60948" x2="44141" y2="60948"/>
                        <a14:backgroundMark x1="48535" y1="59967" x2="48535" y2="59967"/>
                        <a14:backgroundMark x1="45020" y1="61111" x2="45020" y2="61111"/>
                        <a14:backgroundMark x1="23730" y1="63889" x2="23730" y2="63889"/>
                        <a14:backgroundMark x1="24707" y1="61275" x2="24707" y2="61275"/>
                        <a14:backgroundMark x1="24414" y1="62745" x2="24414" y2="62745"/>
                        <a14:backgroundMark x1="20020" y1="65523" x2="20020" y2="65523"/>
                        <a14:backgroundMark x1="14551" y1="62908" x2="14551" y2="62908"/>
                        <a14:backgroundMark x1="13770" y1="64052" x2="13770" y2="64052"/>
                        <a14:backgroundMark x1="37500" y1="56209" x2="37500" y2="56209"/>
                        <a14:backgroundMark x1="53816" y1="25246" x2="53816" y2="25246"/>
                        <a14:backgroundMark x1="40705" y1="33443" x2="40705" y2="33443"/>
                        <a14:backgroundMark x1="27006" y1="31475" x2="27006" y2="31475"/>
                        <a14:backgroundMark x1="23679" y1="33443" x2="23679" y2="33443"/>
                        <a14:backgroundMark x1="22896" y1="38361" x2="22896" y2="38361"/>
                        <a14:backgroundMark x1="20939" y1="41311" x2="20939" y2="41311"/>
                        <a14:backgroundMark x1="69080" y1="32131" x2="69080" y2="32131"/>
                        <a14:backgroundMark x1="77691" y1="23279" x2="77691" y2="23279"/>
                        <a14:backgroundMark x1="44423" y1="38361" x2="44423" y2="38361"/>
                        <a14:backgroundMark x1="48924" y1="37705" x2="48924" y2="37705"/>
                        <a14:backgroundMark x1="56360" y1="37377" x2="56360" y2="37377"/>
                        <a14:backgroundMark x1="30528" y1="64918" x2="30528" y2="64918"/>
                        <a14:backgroundMark x1="31115" y1="62295" x2="31115" y2="62295"/>
                        <a14:backgroundMark x1="41487" y1="61639" x2="41487" y2="61639"/>
                        <a14:backgroundMark x1="38943" y1="60984" x2="38943" y2="60984"/>
                        <a14:backgroundMark x1="52642" y1="58689" x2="52642" y2="58689"/>
                        <a14:backgroundMark x1="54990" y1="58689" x2="54990" y2="58689"/>
                        <a14:backgroundMark x1="45793" y1="26885" x2="45793" y2="26885"/>
                        <a14:backgroundMark x1="8600" y1="42809" x2="8600" y2="42809"/>
                        <a14:backgroundMark x1="6600" y1="48829" x2="6600" y2="48829"/>
                        <a14:backgroundMark x1="57000" y1="69565" x2="57000" y2="69565"/>
                        <a14:backgroundMark x1="56400" y1="64548" x2="56400" y2="64548"/>
                        <a14:backgroundMark x1="57000" y1="57860" x2="57000" y2="57860"/>
                        <a14:backgroundMark x1="49800" y1="59197" x2="49800" y2="59197"/>
                      </a14:backgroundRemoval>
                    </a14:imgEffect>
                    <a14:imgEffect>
                      <a14:brightnessContrast bright="4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640" y="4586268"/>
            <a:ext cx="1492894" cy="8922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2" name="Полилиния 11"/>
          <p:cNvSpPr/>
          <p:nvPr/>
        </p:nvSpPr>
        <p:spPr>
          <a:xfrm rot="21311904">
            <a:off x="2230420" y="1959188"/>
            <a:ext cx="2451736" cy="358654"/>
          </a:xfrm>
          <a:custGeom>
            <a:avLst/>
            <a:gdLst>
              <a:gd name="connsiteX0" fmla="*/ 0 w 2608730"/>
              <a:gd name="connsiteY0" fmla="*/ 430306 h 464925"/>
              <a:gd name="connsiteX1" fmla="*/ 1237130 w 2608730"/>
              <a:gd name="connsiteY1" fmla="*/ 421341 h 464925"/>
              <a:gd name="connsiteX2" fmla="*/ 2608730 w 2608730"/>
              <a:gd name="connsiteY2" fmla="*/ 0 h 464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608730" h="464925">
                <a:moveTo>
                  <a:pt x="0" y="430306"/>
                </a:moveTo>
                <a:cubicBezTo>
                  <a:pt x="401171" y="461682"/>
                  <a:pt x="802342" y="493059"/>
                  <a:pt x="1237130" y="421341"/>
                </a:cubicBezTo>
                <a:cubicBezTo>
                  <a:pt x="1671918" y="349623"/>
                  <a:pt x="2140324" y="174811"/>
                  <a:pt x="2608730" y="0"/>
                </a:cubicBezTo>
              </a:path>
            </a:pathLst>
          </a:custGeom>
          <a:noFill/>
          <a:ln w="79375">
            <a:solidFill>
              <a:srgbClr val="C00000"/>
            </a:solidFill>
            <a:tailEnd type="stealth"/>
          </a:ln>
          <a:effectLst/>
          <a:scene3d>
            <a:camera prst="orthographicFront"/>
            <a:lightRig rig="threePt" dir="t"/>
          </a:scene3d>
          <a:sp3d>
            <a:bevelT w="38100" h="6985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5616823" y="1164242"/>
            <a:ext cx="4464496" cy="2972834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Блок-схема: альтернативный процесс 34"/>
          <p:cNvSpPr/>
          <p:nvPr/>
        </p:nvSpPr>
        <p:spPr>
          <a:xfrm>
            <a:off x="5688831" y="1785016"/>
            <a:ext cx="4536504" cy="2234988"/>
          </a:xfrm>
          <a:prstGeom prst="flowChartAlternateProcess">
            <a:avLst/>
          </a:prstGeo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marL="171450" indent="-1714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ü"/>
              <a:defRPr/>
            </a:pPr>
            <a:r>
              <a:rPr lang="ru-RU" sz="1200" b="1" dirty="0" smtClean="0">
                <a:solidFill>
                  <a:schemeClr val="tx1"/>
                </a:solidFill>
              </a:rPr>
              <a:t>Крупнейший парк универсальных вагонов</a:t>
            </a:r>
          </a:p>
          <a:p>
            <a:pPr marL="171450" indent="-1714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ü"/>
              <a:defRPr/>
            </a:pPr>
            <a:r>
              <a:rPr lang="ru-RU" sz="1200" b="1" dirty="0" smtClean="0">
                <a:solidFill>
                  <a:schemeClr val="tx1"/>
                </a:solidFill>
              </a:rPr>
              <a:t>14 филиалов и 2 представительства</a:t>
            </a:r>
          </a:p>
          <a:p>
            <a:pPr marL="171450" indent="-1714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ü"/>
              <a:defRPr/>
            </a:pPr>
            <a:r>
              <a:rPr lang="ru-RU" sz="1200" b="1" dirty="0" smtClean="0">
                <a:solidFill>
                  <a:schemeClr val="tx1"/>
                </a:solidFill>
              </a:rPr>
              <a:t>Дочернее Общество ОАО «РЖД»</a:t>
            </a:r>
            <a:endParaRPr lang="ru-RU" sz="1400" dirty="0">
              <a:solidFill>
                <a:schemeClr val="bg1"/>
              </a:solidFill>
            </a:endParaRPr>
          </a:p>
        </p:txBody>
      </p:sp>
      <p:cxnSp>
        <p:nvCxnSpPr>
          <p:cNvPr id="36" name="Прямая соединительная линия 35"/>
          <p:cNvCxnSpPr/>
          <p:nvPr/>
        </p:nvCxnSpPr>
        <p:spPr>
          <a:xfrm>
            <a:off x="6047507" y="1745742"/>
            <a:ext cx="3715977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Прямоугольник 36"/>
          <p:cNvSpPr/>
          <p:nvPr/>
        </p:nvSpPr>
        <p:spPr>
          <a:xfrm>
            <a:off x="5905526" y="1175613"/>
            <a:ext cx="3857958" cy="523220"/>
          </a:xfrm>
          <a:prstGeom prst="rect">
            <a:avLst/>
          </a:prstGeom>
          <a:ln w="12700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i="1" dirty="0" smtClean="0">
                <a:solidFill>
                  <a:srgbClr val="C00000"/>
                </a:solidFill>
                <a:cs typeface="Times New Roman" pitchFamily="18" charset="0"/>
              </a:rPr>
              <a:t>Конкурентные преимущества </a:t>
            </a:r>
          </a:p>
          <a:p>
            <a:pPr algn="ctr"/>
            <a:r>
              <a:rPr lang="ru-RU" sz="1400" b="1" i="1" dirty="0" smtClean="0">
                <a:solidFill>
                  <a:srgbClr val="C00000"/>
                </a:solidFill>
                <a:cs typeface="Times New Roman" pitchFamily="18" charset="0"/>
              </a:rPr>
              <a:t>ОАО </a:t>
            </a:r>
            <a:r>
              <a:rPr lang="ru-RU" sz="1400" b="1" i="1" dirty="0">
                <a:solidFill>
                  <a:srgbClr val="C00000"/>
                </a:solidFill>
                <a:cs typeface="Times New Roman" pitchFamily="18" charset="0"/>
              </a:rPr>
              <a:t>«ФГК</a:t>
            </a:r>
            <a:r>
              <a:rPr lang="ru-RU" sz="1400" b="1" i="1" dirty="0" smtClean="0">
                <a:solidFill>
                  <a:srgbClr val="C00000"/>
                </a:solidFill>
                <a:cs typeface="Times New Roman" pitchFamily="18" charset="0"/>
              </a:rPr>
              <a:t>»</a:t>
            </a:r>
            <a:endParaRPr lang="ru-RU" sz="1400" b="1" i="1" dirty="0">
              <a:solidFill>
                <a:srgbClr val="C00000"/>
              </a:solidFill>
              <a:cs typeface="Times New Roman" pitchFamily="18" charset="0"/>
            </a:endParaRPr>
          </a:p>
        </p:txBody>
      </p:sp>
      <p:cxnSp>
        <p:nvCxnSpPr>
          <p:cNvPr id="39" name="Прямая соединительная линия 38"/>
          <p:cNvCxnSpPr/>
          <p:nvPr/>
        </p:nvCxnSpPr>
        <p:spPr>
          <a:xfrm>
            <a:off x="554581" y="1715716"/>
            <a:ext cx="4116602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/>
          <p:cNvCxnSpPr/>
          <p:nvPr/>
        </p:nvCxnSpPr>
        <p:spPr>
          <a:xfrm>
            <a:off x="5701170" y="4742444"/>
            <a:ext cx="4236133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2" name="Rectangle 29"/>
          <p:cNvSpPr/>
          <p:nvPr/>
        </p:nvSpPr>
        <p:spPr bwMode="gray">
          <a:xfrm>
            <a:off x="139898" y="5670426"/>
            <a:ext cx="5607798" cy="12922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996950" eaLnBrk="0" hangingPunct="0">
              <a:lnSpc>
                <a:spcPct val="120000"/>
              </a:lnSpc>
              <a:spcBef>
                <a:spcPts val="600"/>
              </a:spcBef>
              <a:spcAft>
                <a:spcPts val="300"/>
              </a:spcAft>
              <a:buClr>
                <a:srgbClr val="C00000"/>
              </a:buClr>
              <a:buSzPct val="85000"/>
              <a:buFont typeface="Wingdings" pitchFamily="2" charset="2"/>
              <a:buChar char="n"/>
              <a:tabLst>
                <a:tab pos="4787900" algn="l"/>
              </a:tabLst>
              <a:defRPr/>
            </a:pPr>
            <a:r>
              <a:rPr lang="ru-RU" sz="1200" b="1" dirty="0" smtClean="0">
                <a:ea typeface="Calibri" pitchFamily="34" charset="0"/>
                <a:cs typeface="Times New Roman" pitchFamily="18" charset="0"/>
                <a:sym typeface="Wingdings 3" pitchFamily="18" charset="2"/>
              </a:rPr>
              <a:t>В структуре погрузки ФГК преобладает уголь, строительные грузы, грузы металлургической промышленности </a:t>
            </a:r>
          </a:p>
          <a:p>
            <a:pPr marL="171450" indent="-171450" defTabSz="996950" eaLnBrk="0" hangingPunct="0">
              <a:lnSpc>
                <a:spcPct val="120000"/>
              </a:lnSpc>
              <a:spcBef>
                <a:spcPts val="600"/>
              </a:spcBef>
              <a:spcAft>
                <a:spcPts val="300"/>
              </a:spcAft>
              <a:buClr>
                <a:srgbClr val="C00000"/>
              </a:buClr>
              <a:buSzPct val="85000"/>
              <a:buFont typeface="Wingdings" pitchFamily="2" charset="2"/>
              <a:buChar char="n"/>
              <a:tabLst>
                <a:tab pos="4787900" algn="l"/>
              </a:tabLst>
              <a:defRPr/>
            </a:pPr>
            <a:r>
              <a:rPr lang="ru-RU" sz="1200" b="1" dirty="0" smtClean="0">
                <a:ea typeface="Calibri" pitchFamily="34" charset="0"/>
                <a:cs typeface="Times New Roman" pitchFamily="18" charset="0"/>
                <a:sym typeface="Wingdings 3" pitchFamily="18" charset="2"/>
              </a:rPr>
              <a:t>Значительную долю в погрузке ФГК занимают социально-значимые и воинские грузы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5616823" y="4219224"/>
            <a:ext cx="432048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i="1" dirty="0">
                <a:solidFill>
                  <a:srgbClr val="C00000"/>
                </a:solidFill>
                <a:cs typeface="Arial" pitchFamily="34" charset="0"/>
              </a:rPr>
              <a:t>Структура погрузки ОАО «ФГК» </a:t>
            </a:r>
            <a:endParaRPr lang="ru-RU" sz="1400" b="1" i="1" dirty="0" smtClean="0">
              <a:solidFill>
                <a:srgbClr val="C00000"/>
              </a:solidFill>
              <a:cs typeface="Arial" pitchFamily="34" charset="0"/>
            </a:endParaRPr>
          </a:p>
          <a:p>
            <a:pPr algn="ctr"/>
            <a:r>
              <a:rPr lang="ru-RU" sz="1400" b="1" i="1" dirty="0" smtClean="0">
                <a:solidFill>
                  <a:srgbClr val="C00000"/>
                </a:solidFill>
                <a:cs typeface="Arial" pitchFamily="34" charset="0"/>
              </a:rPr>
              <a:t>по </a:t>
            </a:r>
            <a:r>
              <a:rPr lang="ru-RU" sz="1400" b="1" i="1" dirty="0">
                <a:solidFill>
                  <a:srgbClr val="C00000"/>
                </a:solidFill>
                <a:cs typeface="Arial" pitchFamily="34" charset="0"/>
              </a:rPr>
              <a:t>грузам в </a:t>
            </a:r>
            <a:r>
              <a:rPr lang="ru-RU" sz="1400" b="1" i="1" dirty="0" smtClean="0">
                <a:solidFill>
                  <a:srgbClr val="C00000"/>
                </a:solidFill>
                <a:cs typeface="Arial" pitchFamily="34" charset="0"/>
              </a:rPr>
              <a:t>2013 </a:t>
            </a:r>
            <a:r>
              <a:rPr lang="ru-RU" sz="1400" b="1" i="1" dirty="0">
                <a:solidFill>
                  <a:srgbClr val="C00000"/>
                </a:solidFill>
                <a:cs typeface="Arial" pitchFamily="34" charset="0"/>
              </a:rPr>
              <a:t>г.</a:t>
            </a:r>
            <a:endParaRPr lang="ru-RU" sz="1600" b="1" i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6262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Прямоугольник 93"/>
          <p:cNvSpPr/>
          <p:nvPr/>
        </p:nvSpPr>
        <p:spPr>
          <a:xfrm>
            <a:off x="7887175" y="1586813"/>
            <a:ext cx="2422277" cy="1624073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3" name="Прямоугольник 92"/>
          <p:cNvSpPr/>
          <p:nvPr/>
        </p:nvSpPr>
        <p:spPr>
          <a:xfrm>
            <a:off x="5386246" y="1586814"/>
            <a:ext cx="2422277" cy="1624072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2" name="Прямоугольник 91"/>
          <p:cNvSpPr/>
          <p:nvPr/>
        </p:nvSpPr>
        <p:spPr>
          <a:xfrm>
            <a:off x="2736503" y="1596143"/>
            <a:ext cx="2555856" cy="1614742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рямоугольник 23"/>
          <p:cNvSpPr/>
          <p:nvPr/>
        </p:nvSpPr>
        <p:spPr>
          <a:xfrm>
            <a:off x="113147" y="1586813"/>
            <a:ext cx="2521246" cy="1624071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4804" y="27881"/>
            <a:ext cx="7653600" cy="953775"/>
          </a:xfrm>
        </p:spPr>
        <p:txBody>
          <a:bodyPr anchor="ctr"/>
          <a:lstStyle/>
          <a:p>
            <a:r>
              <a:rPr lang="ru-RU" sz="1800" b="1" dirty="0" smtClean="0"/>
              <a:t>ОАО </a:t>
            </a:r>
            <a:r>
              <a:rPr lang="ru-RU" sz="1800" b="1" dirty="0"/>
              <a:t>«ФГК» </a:t>
            </a:r>
            <a:r>
              <a:rPr lang="ru-RU" sz="1800" b="1" dirty="0" smtClean="0"/>
              <a:t>крупнейший в России оператор универсального подвижного состава</a:t>
            </a:r>
            <a:endParaRPr lang="ru-RU" sz="1800" dirty="0">
              <a:solidFill>
                <a:srgbClr val="FF0000"/>
              </a:solidFill>
            </a:endParaRPr>
          </a:p>
        </p:txBody>
      </p:sp>
      <p:sp>
        <p:nvSpPr>
          <p:cNvPr id="47" name="Скругленный прямоугольник 46"/>
          <p:cNvSpPr/>
          <p:nvPr/>
        </p:nvSpPr>
        <p:spPr>
          <a:xfrm>
            <a:off x="113146" y="1015544"/>
            <a:ext cx="10114960" cy="530381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0191" tIns="50095" rIns="100191" bIns="50095" rtlCol="0" anchor="ctr"/>
          <a:lstStyle/>
          <a:p>
            <a:pPr algn="ctr"/>
            <a:r>
              <a:rPr lang="ru-RU" sz="1600" b="1" dirty="0" smtClean="0">
                <a:solidFill>
                  <a:srgbClr val="C00000"/>
                </a:solidFill>
                <a:cs typeface="Arial" pitchFamily="34" charset="0"/>
              </a:rPr>
              <a:t>В управлении ОАО </a:t>
            </a:r>
            <a:r>
              <a:rPr lang="ru-RU" sz="1600" b="1" dirty="0">
                <a:solidFill>
                  <a:srgbClr val="C00000"/>
                </a:solidFill>
                <a:cs typeface="Arial" pitchFamily="34" charset="0"/>
              </a:rPr>
              <a:t>«ФГК» </a:t>
            </a:r>
            <a:r>
              <a:rPr lang="ru-RU" sz="1600" b="1" u="sng" dirty="0" smtClean="0">
                <a:solidFill>
                  <a:srgbClr val="C00000"/>
                </a:solidFill>
                <a:cs typeface="Arial" pitchFamily="34" charset="0"/>
              </a:rPr>
              <a:t>более 166,7 тыс. вагонов</a:t>
            </a:r>
            <a:endParaRPr lang="ru-RU" sz="1600" b="1" u="sng" dirty="0" smtClean="0">
              <a:solidFill>
                <a:srgbClr val="C00000"/>
              </a:solidFill>
            </a:endParaRPr>
          </a:p>
        </p:txBody>
      </p:sp>
      <p:sp>
        <p:nvSpPr>
          <p:cNvPr id="48" name="Скругленный прямоугольник 47"/>
          <p:cNvSpPr/>
          <p:nvPr/>
        </p:nvSpPr>
        <p:spPr>
          <a:xfrm>
            <a:off x="498632" y="1461255"/>
            <a:ext cx="1722134" cy="530381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0191" tIns="50095" rIns="100191" bIns="50095"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cs typeface="Arial" pitchFamily="34" charset="0"/>
              </a:rPr>
              <a:t>Полувагоны</a:t>
            </a:r>
            <a:endParaRPr lang="ru-RU" sz="1600" b="1" dirty="0" smtClean="0">
              <a:solidFill>
                <a:schemeClr val="tx1"/>
              </a:solidFill>
            </a:endParaRPr>
          </a:p>
        </p:txBody>
      </p:sp>
      <p:pic>
        <p:nvPicPr>
          <p:cNvPr id="49" name="Рисунок 4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769" y="4841504"/>
            <a:ext cx="830044" cy="132146"/>
          </a:xfrm>
          <a:prstGeom prst="rect">
            <a:avLst/>
          </a:prstGeom>
        </p:spPr>
      </p:pic>
      <p:pic>
        <p:nvPicPr>
          <p:cNvPr id="50" name="Рисунок 4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004" y="5234023"/>
            <a:ext cx="785834" cy="244861"/>
          </a:xfrm>
          <a:prstGeom prst="rect">
            <a:avLst/>
          </a:prstGeom>
        </p:spPr>
      </p:pic>
      <p:pic>
        <p:nvPicPr>
          <p:cNvPr id="51" name="Рисунок 5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0285" y="4841504"/>
            <a:ext cx="943385" cy="226413"/>
          </a:xfrm>
          <a:prstGeom prst="rect">
            <a:avLst/>
          </a:prstGeom>
        </p:spPr>
      </p:pic>
      <p:pic>
        <p:nvPicPr>
          <p:cNvPr id="52" name="Рисунок 5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975" y="4353074"/>
            <a:ext cx="595313" cy="323850"/>
          </a:xfrm>
          <a:prstGeom prst="rect">
            <a:avLst/>
          </a:prstGeom>
        </p:spPr>
      </p:pic>
      <p:sp>
        <p:nvSpPr>
          <p:cNvPr id="53" name="Скругленный прямоугольник 52"/>
          <p:cNvSpPr/>
          <p:nvPr/>
        </p:nvSpPr>
        <p:spPr>
          <a:xfrm>
            <a:off x="164600" y="3873545"/>
            <a:ext cx="729420" cy="389467"/>
          </a:xfrm>
          <a:prstGeom prst="roundRect">
            <a:avLst/>
          </a:prstGeom>
          <a:noFill/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0191" tIns="50095" rIns="100191" bIns="50095" rtlCol="0" anchor="ctr"/>
          <a:lstStyle/>
          <a:p>
            <a:pPr algn="ctr"/>
            <a:r>
              <a:rPr lang="ru-RU" sz="1400" b="1" dirty="0" smtClean="0">
                <a:solidFill>
                  <a:srgbClr val="C00000"/>
                </a:solidFill>
                <a:cs typeface="Arial" pitchFamily="34" charset="0"/>
              </a:rPr>
              <a:t>ФГК</a:t>
            </a:r>
            <a:endParaRPr lang="ru-RU" sz="1600" b="1" dirty="0" smtClean="0">
              <a:solidFill>
                <a:srgbClr val="C00000"/>
              </a:solidFill>
            </a:endParaRPr>
          </a:p>
        </p:txBody>
      </p:sp>
      <p:sp>
        <p:nvSpPr>
          <p:cNvPr id="54" name="Скругленный прямоугольник 53"/>
          <p:cNvSpPr/>
          <p:nvPr/>
        </p:nvSpPr>
        <p:spPr>
          <a:xfrm>
            <a:off x="3065290" y="1495287"/>
            <a:ext cx="1918227" cy="530381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0191" tIns="50095" rIns="100191" bIns="50095"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cs typeface="Arial" pitchFamily="34" charset="0"/>
              </a:rPr>
              <a:t>Крытые вагоны</a:t>
            </a:r>
            <a:endParaRPr lang="ru-RU" sz="1600" b="1" dirty="0" smtClean="0">
              <a:solidFill>
                <a:schemeClr val="tx1"/>
              </a:solidFill>
            </a:endParaRPr>
          </a:p>
        </p:txBody>
      </p:sp>
      <p:sp>
        <p:nvSpPr>
          <p:cNvPr id="55" name="Скругленный прямоугольник 54"/>
          <p:cNvSpPr/>
          <p:nvPr/>
        </p:nvSpPr>
        <p:spPr>
          <a:xfrm>
            <a:off x="2611139" y="3814379"/>
            <a:ext cx="1149676" cy="530381"/>
          </a:xfrm>
          <a:prstGeom prst="roundRect">
            <a:avLst/>
          </a:prstGeom>
          <a:noFill/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0191" tIns="50095" rIns="100191" bIns="50095" rtlCol="0" anchor="ctr"/>
          <a:lstStyle/>
          <a:p>
            <a:pPr algn="ctr"/>
            <a:r>
              <a:rPr lang="ru-RU" sz="1400" b="1" dirty="0" smtClean="0">
                <a:solidFill>
                  <a:srgbClr val="C00000"/>
                </a:solidFill>
                <a:cs typeface="Arial" pitchFamily="34" charset="0"/>
              </a:rPr>
              <a:t>ФГК</a:t>
            </a:r>
            <a:endParaRPr lang="ru-RU" sz="1600" b="1" dirty="0" smtClean="0">
              <a:solidFill>
                <a:srgbClr val="C00000"/>
              </a:solidFill>
            </a:endParaRPr>
          </a:p>
        </p:txBody>
      </p:sp>
      <p:pic>
        <p:nvPicPr>
          <p:cNvPr id="56" name="Рисунок 5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1193" y="4352918"/>
            <a:ext cx="595313" cy="323850"/>
          </a:xfrm>
          <a:prstGeom prst="rect">
            <a:avLst/>
          </a:prstGeom>
        </p:spPr>
      </p:pic>
      <p:pic>
        <p:nvPicPr>
          <p:cNvPr id="59" name="Рисунок 58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269" b="19829"/>
          <a:stretch/>
        </p:blipFill>
        <p:spPr>
          <a:xfrm>
            <a:off x="166501" y="5621949"/>
            <a:ext cx="776840" cy="277559"/>
          </a:xfrm>
          <a:prstGeom prst="rect">
            <a:avLst/>
          </a:prstGeom>
        </p:spPr>
      </p:pic>
      <p:pic>
        <p:nvPicPr>
          <p:cNvPr id="61" name="Рисунок 6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4518" y="5175004"/>
            <a:ext cx="594920" cy="362901"/>
          </a:xfrm>
          <a:prstGeom prst="rect">
            <a:avLst/>
          </a:prstGeom>
        </p:spPr>
      </p:pic>
      <p:sp>
        <p:nvSpPr>
          <p:cNvPr id="67" name="Скругленный прямоугольник 66"/>
          <p:cNvSpPr/>
          <p:nvPr/>
        </p:nvSpPr>
        <p:spPr>
          <a:xfrm>
            <a:off x="5650314" y="1461254"/>
            <a:ext cx="1918227" cy="530381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0191" tIns="50095" rIns="100191" bIns="50095"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cs typeface="Arial" pitchFamily="34" charset="0"/>
              </a:rPr>
              <a:t>Платформы </a:t>
            </a:r>
            <a:r>
              <a:rPr lang="ru-RU" sz="1400" b="1" dirty="0" err="1" smtClean="0">
                <a:solidFill>
                  <a:schemeClr val="tx1"/>
                </a:solidFill>
                <a:cs typeface="Arial" pitchFamily="34" charset="0"/>
              </a:rPr>
              <a:t>ун</a:t>
            </a:r>
            <a:r>
              <a:rPr lang="ru-RU" sz="1400" b="1" dirty="0" smtClean="0">
                <a:solidFill>
                  <a:schemeClr val="tx1"/>
                </a:solidFill>
                <a:cs typeface="Arial" pitchFamily="34" charset="0"/>
              </a:rPr>
              <a:t>.</a:t>
            </a:r>
            <a:endParaRPr lang="ru-RU" sz="1600" b="1" dirty="0" smtClean="0">
              <a:solidFill>
                <a:schemeClr val="tx1"/>
              </a:solidFill>
            </a:endParaRP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102431" y="3759171"/>
            <a:ext cx="2549388" cy="2288893"/>
          </a:xfrm>
          <a:prstGeom prst="roundRect">
            <a:avLst>
              <a:gd name="adj" fmla="val 6249"/>
            </a:avLst>
          </a:prstGeom>
          <a:noFill/>
          <a:ln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4" name="Скругленный прямоугольник 73"/>
          <p:cNvSpPr/>
          <p:nvPr/>
        </p:nvSpPr>
        <p:spPr>
          <a:xfrm>
            <a:off x="2748986" y="3734956"/>
            <a:ext cx="2560800" cy="2313108"/>
          </a:xfrm>
          <a:prstGeom prst="roundRect">
            <a:avLst>
              <a:gd name="adj" fmla="val 6624"/>
            </a:avLst>
          </a:prstGeom>
          <a:noFill/>
          <a:ln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5" name="Скругленный прямоугольник 74"/>
          <p:cNvSpPr/>
          <p:nvPr/>
        </p:nvSpPr>
        <p:spPr>
          <a:xfrm>
            <a:off x="5370337" y="3734956"/>
            <a:ext cx="2455612" cy="1800096"/>
          </a:xfrm>
          <a:prstGeom prst="roundRect">
            <a:avLst>
              <a:gd name="adj" fmla="val 6715"/>
            </a:avLst>
          </a:prstGeom>
          <a:noFill/>
          <a:ln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0" name="Скругленный прямоугольник 79"/>
          <p:cNvSpPr/>
          <p:nvPr/>
        </p:nvSpPr>
        <p:spPr>
          <a:xfrm>
            <a:off x="8139199" y="1466084"/>
            <a:ext cx="1918227" cy="530381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0191" tIns="50095" rIns="100191" bIns="50095"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cs typeface="Arial" pitchFamily="34" charset="0"/>
              </a:rPr>
              <a:t>Цистерны</a:t>
            </a:r>
            <a:endParaRPr lang="ru-RU" sz="1600" b="1" dirty="0" smtClean="0">
              <a:solidFill>
                <a:schemeClr val="tx1"/>
              </a:solidFill>
            </a:endParaRPr>
          </a:p>
        </p:txBody>
      </p:sp>
      <p:sp>
        <p:nvSpPr>
          <p:cNvPr id="88" name="Скругленный прямоугольник 87"/>
          <p:cNvSpPr/>
          <p:nvPr/>
        </p:nvSpPr>
        <p:spPr>
          <a:xfrm>
            <a:off x="0" y="2763781"/>
            <a:ext cx="2634392" cy="530381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0191" tIns="50095" rIns="100191" bIns="50095" rtlCol="0" anchor="ctr"/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cs typeface="Arial" pitchFamily="34" charset="0"/>
              </a:rPr>
              <a:t>127 325</a:t>
            </a:r>
            <a:endParaRPr lang="ru-RU" sz="1600" b="1" dirty="0" smtClean="0">
              <a:solidFill>
                <a:schemeClr val="bg1"/>
              </a:solidFill>
            </a:endParaRPr>
          </a:p>
        </p:txBody>
      </p:sp>
      <p:sp>
        <p:nvSpPr>
          <p:cNvPr id="89" name="Скругленный прямоугольник 88"/>
          <p:cNvSpPr/>
          <p:nvPr/>
        </p:nvSpPr>
        <p:spPr>
          <a:xfrm>
            <a:off x="2736503" y="2765045"/>
            <a:ext cx="2634392" cy="530381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0191" tIns="50095" rIns="100191" bIns="50095" rtlCol="0" anchor="ctr"/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cs typeface="Arial" pitchFamily="34" charset="0"/>
              </a:rPr>
              <a:t>24 666</a:t>
            </a:r>
            <a:endParaRPr lang="ru-RU" sz="1600" b="1" dirty="0" smtClean="0">
              <a:solidFill>
                <a:schemeClr val="bg1"/>
              </a:solidFill>
            </a:endParaRPr>
          </a:p>
        </p:txBody>
      </p:sp>
      <p:sp>
        <p:nvSpPr>
          <p:cNvPr id="90" name="Скругленный прямоугольник 89"/>
          <p:cNvSpPr/>
          <p:nvPr/>
        </p:nvSpPr>
        <p:spPr>
          <a:xfrm>
            <a:off x="5292359" y="2765045"/>
            <a:ext cx="2634392" cy="530381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0191" tIns="50095" rIns="100191" bIns="50095" rtlCol="0" anchor="ctr"/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cs typeface="Arial" pitchFamily="34" charset="0"/>
              </a:rPr>
              <a:t>9 753</a:t>
            </a:r>
            <a:endParaRPr lang="ru-RU" sz="1600" b="1" dirty="0" smtClean="0">
              <a:solidFill>
                <a:schemeClr val="bg1"/>
              </a:solidFill>
            </a:endParaRPr>
          </a:p>
        </p:txBody>
      </p:sp>
      <p:sp>
        <p:nvSpPr>
          <p:cNvPr id="91" name="Скругленный прямоугольник 90"/>
          <p:cNvSpPr/>
          <p:nvPr/>
        </p:nvSpPr>
        <p:spPr>
          <a:xfrm>
            <a:off x="7764751" y="2746112"/>
            <a:ext cx="2634392" cy="530381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0191" tIns="50095" rIns="100191" bIns="50095" rtlCol="0" anchor="ctr"/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cs typeface="Arial" pitchFamily="34" charset="0"/>
              </a:rPr>
              <a:t>4 459</a:t>
            </a:r>
            <a:endParaRPr lang="ru-RU" sz="1600" b="1" dirty="0" smtClean="0">
              <a:solidFill>
                <a:schemeClr val="bg1"/>
              </a:solidFill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6012" b="87097" l="19336" r="9052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9472" t="5416" r="9501" b="13119"/>
          <a:stretch/>
        </p:blipFill>
        <p:spPr bwMode="auto">
          <a:xfrm>
            <a:off x="3178850" y="1907898"/>
            <a:ext cx="1691105" cy="9819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3984" b="100000" l="0" r="100000">
                        <a14:foregroundMark x1="21121" y1="31105" x2="21121" y2="31105"/>
                        <a14:foregroundMark x1="12750" y1="30233" x2="12750" y2="30233"/>
                        <a14:foregroundMark x1="5991" y1="28634" x2="5991" y2="28634"/>
                        <a14:foregroundMark x1="42243" y1="18169" x2="42243" y2="18169"/>
                        <a14:foregroundMark x1="57066" y1="13227" x2="57066" y2="13227"/>
                        <a14:foregroundMark x1="86636" y1="10320" x2="86636" y2="10320"/>
                        <a14:foregroundMark x1="89939" y1="27035" x2="89939" y2="27035"/>
                        <a14:foregroundMark x1="10215" y1="22965" x2="10215" y2="22965"/>
                        <a14:foregroundMark x1="11905" y1="21948" x2="11905" y2="21948"/>
                        <a14:foregroundMark x1="16206" y1="20930" x2="16206" y2="20930"/>
                        <a14:foregroundMark x1="23963" y1="19041" x2="23963" y2="19041"/>
                        <a14:foregroundMark x1="51613" y1="33430" x2="51613" y2="33430"/>
                        <a14:foregroundMark x1="62058" y1="34302" x2="62058" y2="34302"/>
                        <a14:foregroundMark x1="66820" y1="31105" x2="66820" y2="31105"/>
                        <a14:foregroundMark x1="72811" y1="30523" x2="72811" y2="30523"/>
                        <a14:foregroundMark x1="97542" y1="19622" x2="97542" y2="19622"/>
                        <a14:foregroundMark x1="98848" y1="26308" x2="98848" y2="26308"/>
                        <a14:backgroundMark x1="80421" y1="4781" x2="80421" y2="4781"/>
                      </a14:backgroundRemoval>
                    </a14:imgEffect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6615" y="1897906"/>
            <a:ext cx="1818207" cy="96077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128" name="Picture 8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19935" b="79849" l="18319" r="81968">
                        <a14:foregroundMark x1="61458" y1="42888" x2="61458" y2="42888"/>
                        <a14:foregroundMark x1="64188" y1="41433" x2="64188" y2="41433"/>
                        <a14:foregroundMark x1="62428" y1="44881" x2="62428" y2="44881"/>
                        <a14:foregroundMark x1="58154" y1="43696" x2="58154" y2="43696"/>
                        <a14:foregroundMark x1="56214" y1="43696" x2="56214" y2="43696"/>
                        <a14:foregroundMark x1="53412" y1="43427" x2="53412" y2="43427"/>
                        <a14:foregroundMark x1="76904" y1="22899" x2="76904" y2="22899"/>
                        <a14:foregroundMark x1="78412" y1="23276" x2="78412" y2="23276"/>
                        <a14:foregroundMark x1="79885" y1="24353" x2="79885" y2="24353"/>
                        <a14:foregroundMark x1="79741" y1="30496" x2="79741" y2="30496"/>
                        <a14:foregroundMark x1="61818" y1="40894" x2="61818" y2="40894"/>
                        <a14:foregroundMark x1="61638" y1="44343" x2="61638" y2="44343"/>
                        <a14:foregroundMark x1="64116" y1="37769" x2="64116" y2="37769"/>
                        <a14:foregroundMark x1="59124" y1="41595" x2="59124" y2="41595"/>
                        <a14:foregroundMark x1="56214" y1="75862" x2="56214" y2="75862"/>
                        <a14:foregroundMark x1="56825" y1="76024" x2="56825" y2="76024"/>
                        <a14:foregroundMark x1="55316" y1="75108" x2="55316" y2="75108"/>
                        <a14:foregroundMark x1="54705" y1="73707" x2="54705" y2="73707"/>
                        <a14:foregroundMark x1="54885" y1="74353" x2="54885" y2="74353"/>
                        <a14:foregroundMark x1="24641" y1="71606" x2="24641" y2="71606"/>
                        <a14:foregroundMark x1="53772" y1="45528" x2="53772" y2="45528"/>
                        <a14:foregroundMark x1="55783" y1="42565" x2="55783" y2="42565"/>
                        <a14:backgroundMark x1="79921" y1="77963" x2="79921" y2="77963"/>
                        <a14:backgroundMark x1="81573" y1="70797" x2="81573" y2="70797"/>
                        <a14:backgroundMark x1="81537" y1="67134" x2="81537" y2="67134"/>
                        <a14:backgroundMark x1="74102" y1="74731" x2="74102" y2="74731"/>
                        <a14:backgroundMark x1="22557" y1="69235" x2="22557" y2="69235"/>
                        <a14:backgroundMark x1="21372" y1="69397" x2="21372" y2="69397"/>
                        <a14:backgroundMark x1="21695" y1="67403" x2="21695" y2="67403"/>
                        <a14:backgroundMark x1="19899" y1="66379" x2="19899" y2="66379"/>
                        <a14:backgroundMark x1="20043" y1="64278" x2="20043" y2="64278"/>
                        <a14:backgroundMark x1="22486" y1="68373" x2="22486" y2="68373"/>
                        <a14:backgroundMark x1="22665" y1="70797" x2="22665" y2="70797"/>
                        <a14:backgroundMark x1="20654" y1="68858" x2="20654" y2="68858"/>
                        <a14:backgroundMark x1="19361" y1="67834" x2="19361" y2="67834"/>
                        <a14:backgroundMark x1="98060" y1="18319" x2="98060" y2="1831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8401" t="19857" r="18081" b="20918"/>
          <a:stretch/>
        </p:blipFill>
        <p:spPr bwMode="auto">
          <a:xfrm>
            <a:off x="437740" y="1849129"/>
            <a:ext cx="1861913" cy="91158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2" name="Скругленный прямоугольник 61"/>
          <p:cNvSpPr/>
          <p:nvPr/>
        </p:nvSpPr>
        <p:spPr>
          <a:xfrm>
            <a:off x="7871266" y="3734955"/>
            <a:ext cx="2455612" cy="2313109"/>
          </a:xfrm>
          <a:prstGeom prst="roundRect">
            <a:avLst>
              <a:gd name="adj" fmla="val 6715"/>
            </a:avLst>
          </a:prstGeom>
          <a:noFill/>
          <a:ln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14" cstate="print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9804" b="89706" l="4590" r="100000">
                        <a14:backgroundMark x1="86230" y1="32843" x2="86230" y2="32843"/>
                        <a14:backgroundMark x1="93066" y1="37092" x2="93066" y2="37092"/>
                        <a14:backgroundMark x1="93652" y1="59477" x2="93652" y2="59477"/>
                        <a14:backgroundMark x1="97168" y1="71078" x2="97168" y2="71078"/>
                        <a14:backgroundMark x1="97754" y1="64706" x2="97754" y2="64706"/>
                        <a14:backgroundMark x1="74805" y1="73203" x2="74805" y2="73203"/>
                        <a14:backgroundMark x1="87305" y1="75327" x2="87305" y2="75327"/>
                        <a14:backgroundMark x1="91895" y1="77451" x2="91895" y2="77451"/>
                        <a14:backgroundMark x1="95117" y1="76144" x2="95117" y2="76144"/>
                        <a14:backgroundMark x1="83789" y1="79248" x2="83789" y2="79248"/>
                        <a14:backgroundMark x1="58691" y1="74020" x2="58691" y2="74020"/>
                        <a14:backgroundMark x1="64063" y1="72876" x2="64063" y2="72876"/>
                        <a14:backgroundMark x1="68750" y1="73203" x2="68750" y2="73203"/>
                        <a14:backgroundMark x1="73242" y1="72386" x2="73242" y2="72386"/>
                        <a14:backgroundMark x1="62598" y1="74183" x2="62598" y2="74183"/>
                        <a14:backgroundMark x1="31738" y1="60131" x2="31738" y2="60131"/>
                        <a14:backgroundMark x1="34863" y1="60784" x2="34863" y2="60784"/>
                        <a14:backgroundMark x1="44141" y1="60948" x2="44141" y2="60948"/>
                        <a14:backgroundMark x1="48535" y1="59967" x2="48535" y2="59967"/>
                        <a14:backgroundMark x1="45020" y1="61111" x2="45020" y2="61111"/>
                        <a14:backgroundMark x1="23730" y1="63889" x2="23730" y2="63889"/>
                        <a14:backgroundMark x1="24707" y1="61275" x2="24707" y2="61275"/>
                        <a14:backgroundMark x1="24414" y1="62745" x2="24414" y2="62745"/>
                        <a14:backgroundMark x1="20020" y1="65523" x2="20020" y2="65523"/>
                        <a14:backgroundMark x1="14551" y1="62908" x2="14551" y2="62908"/>
                        <a14:backgroundMark x1="13770" y1="64052" x2="13770" y2="64052"/>
                        <a14:backgroundMark x1="37500" y1="56209" x2="37500" y2="56209"/>
                        <a14:backgroundMark x1="53816" y1="25246" x2="53816" y2="25246"/>
                        <a14:backgroundMark x1="40705" y1="33443" x2="40705" y2="33443"/>
                        <a14:backgroundMark x1="27006" y1="31475" x2="27006" y2="31475"/>
                        <a14:backgroundMark x1="23679" y1="33443" x2="23679" y2="33443"/>
                        <a14:backgroundMark x1="22896" y1="38361" x2="22896" y2="38361"/>
                        <a14:backgroundMark x1="20939" y1="41311" x2="20939" y2="41311"/>
                        <a14:backgroundMark x1="69080" y1="32131" x2="69080" y2="32131"/>
                        <a14:backgroundMark x1="77691" y1="23279" x2="77691" y2="23279"/>
                        <a14:backgroundMark x1="44423" y1="38361" x2="44423" y2="38361"/>
                        <a14:backgroundMark x1="48924" y1="37705" x2="48924" y2="37705"/>
                        <a14:backgroundMark x1="56360" y1="37377" x2="56360" y2="37377"/>
                        <a14:backgroundMark x1="30528" y1="64918" x2="30528" y2="64918"/>
                        <a14:backgroundMark x1="31115" y1="62295" x2="31115" y2="62295"/>
                        <a14:backgroundMark x1="41487" y1="61639" x2="41487" y2="61639"/>
                        <a14:backgroundMark x1="38943" y1="60984" x2="38943" y2="60984"/>
                        <a14:backgroundMark x1="52642" y1="58689" x2="52642" y2="58689"/>
                        <a14:backgroundMark x1="54990" y1="58689" x2="54990" y2="58689"/>
                        <a14:backgroundMark x1="45793" y1="26885" x2="45793" y2="26885"/>
                        <a14:backgroundMark x1="8600" y1="42809" x2="8600" y2="42809"/>
                        <a14:backgroundMark x1="6600" y1="48829" x2="6600" y2="48829"/>
                        <a14:backgroundMark x1="57000" y1="69565" x2="57000" y2="69565"/>
                        <a14:backgroundMark x1="56400" y1="64548" x2="56400" y2="64548"/>
                        <a14:backgroundMark x1="57000" y1="57860" x2="57000" y2="57860"/>
                        <a14:backgroundMark x1="49800" y1="59197" x2="49800" y2="59197"/>
                      </a14:backgroundRemoval>
                    </a14:imgEffect>
                    <a14:imgEffect>
                      <a14:brightnessContrast bright="4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8387" y="1731275"/>
            <a:ext cx="2165187" cy="12940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9" name="Прямоугольник 8"/>
          <p:cNvSpPr/>
          <p:nvPr/>
        </p:nvSpPr>
        <p:spPr>
          <a:xfrm>
            <a:off x="6084875" y="2512339"/>
            <a:ext cx="216024" cy="79389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65" name="Диаграмма 6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84624630"/>
              </p:ext>
            </p:extLst>
          </p:nvPr>
        </p:nvGraphicFramePr>
        <p:xfrm>
          <a:off x="940680" y="3745682"/>
          <a:ext cx="2142232" cy="24079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graphicFrame>
        <p:nvGraphicFramePr>
          <p:cNvPr id="68" name="Диаграмма 6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29369690"/>
              </p:ext>
            </p:extLst>
          </p:nvPr>
        </p:nvGraphicFramePr>
        <p:xfrm>
          <a:off x="3657554" y="3759170"/>
          <a:ext cx="1652232" cy="26141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pic>
        <p:nvPicPr>
          <p:cNvPr id="5131" name="Picture 11" descr="Картинки"/>
          <p:cNvPicPr>
            <a:picLocks noChangeAspect="1" noChangeArrowheads="1"/>
          </p:cNvPicPr>
          <p:nvPr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198" b="15445"/>
          <a:stretch/>
        </p:blipFill>
        <p:spPr bwMode="auto">
          <a:xfrm>
            <a:off x="2945917" y="5615578"/>
            <a:ext cx="651087" cy="329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9" name="Скругленный прямоугольник 68"/>
          <p:cNvSpPr/>
          <p:nvPr/>
        </p:nvSpPr>
        <p:spPr>
          <a:xfrm>
            <a:off x="169826" y="3222478"/>
            <a:ext cx="10114960" cy="530381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0191" tIns="50095" rIns="100191" bIns="50095" rtlCol="0" anchor="ctr"/>
          <a:lstStyle/>
          <a:p>
            <a:pPr algn="ctr"/>
            <a:r>
              <a:rPr lang="ru-RU" sz="1500" b="1" dirty="0" smtClean="0">
                <a:solidFill>
                  <a:srgbClr val="C00000"/>
                </a:solidFill>
                <a:cs typeface="Arial" pitchFamily="34" charset="0"/>
              </a:rPr>
              <a:t>Основные конкуренты и доли ОАО </a:t>
            </a:r>
            <a:r>
              <a:rPr lang="ru-RU" sz="1500" b="1" dirty="0">
                <a:solidFill>
                  <a:srgbClr val="C00000"/>
                </a:solidFill>
                <a:cs typeface="Arial" pitchFamily="34" charset="0"/>
              </a:rPr>
              <a:t>«ФГК» </a:t>
            </a:r>
            <a:r>
              <a:rPr lang="ru-RU" sz="1500" b="1" dirty="0" smtClean="0">
                <a:solidFill>
                  <a:srgbClr val="C00000"/>
                </a:solidFill>
                <a:cs typeface="Arial" pitchFamily="34" charset="0"/>
              </a:rPr>
              <a:t>на рынке грузовых перевозок, </a:t>
            </a:r>
            <a:r>
              <a:rPr lang="ru-RU" sz="1500" b="1" dirty="0" err="1" smtClean="0">
                <a:solidFill>
                  <a:srgbClr val="C00000"/>
                </a:solidFill>
                <a:cs typeface="Arial" pitchFamily="34" charset="0"/>
              </a:rPr>
              <a:t>тыс.ваг</a:t>
            </a:r>
            <a:r>
              <a:rPr lang="ru-RU" sz="1500" b="1" dirty="0" smtClean="0">
                <a:solidFill>
                  <a:srgbClr val="C00000"/>
                </a:solidFill>
                <a:cs typeface="Arial" pitchFamily="34" charset="0"/>
              </a:rPr>
              <a:t>., %</a:t>
            </a:r>
            <a:endParaRPr lang="ru-RU" sz="1500" b="1" dirty="0" smtClean="0">
              <a:solidFill>
                <a:srgbClr val="C00000"/>
              </a:solidFill>
            </a:endParaRPr>
          </a:p>
        </p:txBody>
      </p:sp>
      <p:grpSp>
        <p:nvGrpSpPr>
          <p:cNvPr id="10" name="Группа 9"/>
          <p:cNvGrpSpPr/>
          <p:nvPr/>
        </p:nvGrpSpPr>
        <p:grpSpPr>
          <a:xfrm>
            <a:off x="5372404" y="3659331"/>
            <a:ext cx="2516163" cy="1934837"/>
            <a:chOff x="5292360" y="4934780"/>
            <a:chExt cx="2516163" cy="1934837"/>
          </a:xfrm>
        </p:grpSpPr>
        <p:sp>
          <p:nvSpPr>
            <p:cNvPr id="64" name="Скругленный прямоугольник 63"/>
            <p:cNvSpPr/>
            <p:nvPr/>
          </p:nvSpPr>
          <p:spPr>
            <a:xfrm>
              <a:off x="5292360" y="5193094"/>
              <a:ext cx="775487" cy="391878"/>
            </a:xfrm>
            <a:prstGeom prst="roundRect">
              <a:avLst/>
            </a:prstGeom>
            <a:noFill/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100191" tIns="50095" rIns="100191" bIns="50095" rtlCol="0" anchor="ctr"/>
            <a:lstStyle/>
            <a:p>
              <a:pPr algn="ctr"/>
              <a:r>
                <a:rPr lang="ru-RU" sz="1400" b="1" dirty="0" smtClean="0">
                  <a:solidFill>
                    <a:srgbClr val="C00000"/>
                  </a:solidFill>
                  <a:cs typeface="Arial" pitchFamily="34" charset="0"/>
                </a:rPr>
                <a:t>ФГК</a:t>
              </a:r>
              <a:endParaRPr lang="ru-RU" sz="1600" b="1" dirty="0" smtClean="0">
                <a:solidFill>
                  <a:srgbClr val="C00000"/>
                </a:solidFill>
              </a:endParaRPr>
            </a:p>
          </p:txBody>
        </p:sp>
        <p:pic>
          <p:nvPicPr>
            <p:cNvPr id="66" name="Рисунок 65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85593" y="5710108"/>
              <a:ext cx="595313" cy="323850"/>
            </a:xfrm>
            <a:prstGeom prst="rect">
              <a:avLst/>
            </a:prstGeom>
          </p:spPr>
        </p:pic>
        <p:graphicFrame>
          <p:nvGraphicFramePr>
            <p:cNvPr id="70" name="Диаграмма 69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4000903881"/>
                </p:ext>
              </p:extLst>
            </p:nvPr>
          </p:nvGraphicFramePr>
          <p:xfrm>
            <a:off x="5871688" y="4934780"/>
            <a:ext cx="1936835" cy="193483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9"/>
            </a:graphicData>
          </a:graphic>
        </p:graphicFrame>
        <p:pic>
          <p:nvPicPr>
            <p:cNvPr id="71" name="Рисунок 70"/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9269" b="19829"/>
            <a:stretch/>
          </p:blipFill>
          <p:spPr>
            <a:xfrm>
              <a:off x="5386246" y="6336242"/>
              <a:ext cx="776840" cy="277559"/>
            </a:xfrm>
            <a:prstGeom prst="rect">
              <a:avLst/>
            </a:prstGeom>
          </p:spPr>
        </p:pic>
      </p:grpSp>
      <p:graphicFrame>
        <p:nvGraphicFramePr>
          <p:cNvPr id="72" name="Диаграмма 7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98909890"/>
              </p:ext>
            </p:extLst>
          </p:nvPr>
        </p:nvGraphicFramePr>
        <p:xfrm>
          <a:off x="8658584" y="3745681"/>
          <a:ext cx="1622731" cy="2644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79" name="Скругленный прямоугольник 78"/>
          <p:cNvSpPr/>
          <p:nvPr/>
        </p:nvSpPr>
        <p:spPr>
          <a:xfrm>
            <a:off x="7959700" y="5604825"/>
            <a:ext cx="775487" cy="391878"/>
          </a:xfrm>
          <a:prstGeom prst="roundRect">
            <a:avLst/>
          </a:prstGeom>
          <a:noFill/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0191" tIns="50095" rIns="100191" bIns="50095" rtlCol="0" anchor="ctr"/>
          <a:lstStyle/>
          <a:p>
            <a:pPr algn="ctr"/>
            <a:r>
              <a:rPr lang="ru-RU" sz="1400" b="1" dirty="0" smtClean="0">
                <a:solidFill>
                  <a:srgbClr val="C00000"/>
                </a:solidFill>
                <a:cs typeface="Arial" pitchFamily="34" charset="0"/>
              </a:rPr>
              <a:t>ФГК</a:t>
            </a:r>
            <a:endParaRPr lang="ru-RU" sz="1600" b="1" dirty="0" smtClean="0">
              <a:solidFill>
                <a:srgbClr val="C00000"/>
              </a:solidFill>
            </a:endParaRPr>
          </a:p>
        </p:txBody>
      </p:sp>
      <p:sp>
        <p:nvSpPr>
          <p:cNvPr id="81" name="Скругленный прямоугольник 80"/>
          <p:cNvSpPr/>
          <p:nvPr/>
        </p:nvSpPr>
        <p:spPr>
          <a:xfrm>
            <a:off x="7984089" y="5187720"/>
            <a:ext cx="775487" cy="391878"/>
          </a:xfrm>
          <a:prstGeom prst="roundRect">
            <a:avLst/>
          </a:prstGeom>
          <a:noFill/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0191" tIns="50095" rIns="100191" bIns="50095"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cs typeface="Arial" pitchFamily="34" charset="0"/>
              </a:rPr>
              <a:t>….</a:t>
            </a:r>
            <a:endParaRPr lang="ru-RU" sz="1600" b="1" dirty="0" smtClean="0">
              <a:solidFill>
                <a:schemeClr val="tx1"/>
              </a:solidFill>
            </a:endParaRPr>
          </a:p>
        </p:txBody>
      </p:sp>
      <p:pic>
        <p:nvPicPr>
          <p:cNvPr id="82" name="Рисунок 8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9787" y="3917645"/>
            <a:ext cx="595313" cy="323850"/>
          </a:xfrm>
          <a:prstGeom prst="rect">
            <a:avLst/>
          </a:prstGeom>
        </p:spPr>
      </p:pic>
      <p:pic>
        <p:nvPicPr>
          <p:cNvPr id="84" name="Рисунок 8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9353" y="4829596"/>
            <a:ext cx="785834" cy="244861"/>
          </a:xfrm>
          <a:prstGeom prst="rect">
            <a:avLst/>
          </a:prstGeom>
        </p:spPr>
      </p:pic>
      <p:sp>
        <p:nvSpPr>
          <p:cNvPr id="11" name="Rectangle 12">
            <a:hlinkClick r:id="rId21"/>
          </p:cNvPr>
          <p:cNvSpPr>
            <a:spLocks noChangeArrowheads="1"/>
          </p:cNvSpPr>
          <p:nvPr/>
        </p:nvSpPr>
        <p:spPr bwMode="auto">
          <a:xfrm>
            <a:off x="0" y="0"/>
            <a:ext cx="1036955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12" name="Rectangle 13">
            <a:hlinkClick r:id="rId21"/>
          </p:cNvPr>
          <p:cNvSpPr>
            <a:spLocks noChangeArrowheads="1"/>
          </p:cNvSpPr>
          <p:nvPr/>
        </p:nvSpPr>
        <p:spPr bwMode="auto">
          <a:xfrm>
            <a:off x="152400" y="152400"/>
            <a:ext cx="1036955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360" b="32820"/>
          <a:stretch/>
        </p:blipFill>
        <p:spPr>
          <a:xfrm>
            <a:off x="7904600" y="4404324"/>
            <a:ext cx="830587" cy="272600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1957132" y="3929778"/>
            <a:ext cx="7213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rgbClr val="C00000"/>
                </a:solidFill>
              </a:rPr>
              <a:t>127,3</a:t>
            </a:r>
            <a:endParaRPr lang="ru-RU" sz="1200" b="1" dirty="0">
              <a:solidFill>
                <a:srgbClr val="C00000"/>
              </a:solidFill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1817825" y="4403648"/>
            <a:ext cx="72130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/>
              <a:t>112,8</a:t>
            </a:r>
            <a:endParaRPr lang="ru-RU" sz="1000" b="1" dirty="0"/>
          </a:p>
        </p:txBody>
      </p:sp>
      <p:sp>
        <p:nvSpPr>
          <p:cNvPr id="86" name="TextBox 85"/>
          <p:cNvSpPr txBox="1"/>
          <p:nvPr/>
        </p:nvSpPr>
        <p:spPr>
          <a:xfrm>
            <a:off x="4707936" y="3929778"/>
            <a:ext cx="7213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rgbClr val="C00000"/>
                </a:solidFill>
              </a:rPr>
              <a:t>24,7</a:t>
            </a:r>
            <a:endParaRPr lang="ru-RU" sz="1200" b="1" dirty="0">
              <a:solidFill>
                <a:srgbClr val="C00000"/>
              </a:solidFill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4400171" y="4391733"/>
            <a:ext cx="72130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/>
              <a:t>16,8</a:t>
            </a:r>
            <a:endParaRPr lang="ru-RU" sz="1000" b="1" dirty="0"/>
          </a:p>
        </p:txBody>
      </p:sp>
      <p:sp>
        <p:nvSpPr>
          <p:cNvPr id="95" name="TextBox 94"/>
          <p:cNvSpPr txBox="1"/>
          <p:nvPr/>
        </p:nvSpPr>
        <p:spPr>
          <a:xfrm>
            <a:off x="9554588" y="3995274"/>
            <a:ext cx="72130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/>
              <a:t>51,8</a:t>
            </a:r>
            <a:endParaRPr lang="ru-RU" sz="1000" b="1" dirty="0"/>
          </a:p>
        </p:txBody>
      </p:sp>
      <p:sp>
        <p:nvSpPr>
          <p:cNvPr id="96" name="TextBox 95"/>
          <p:cNvSpPr txBox="1"/>
          <p:nvPr/>
        </p:nvSpPr>
        <p:spPr>
          <a:xfrm>
            <a:off x="9197905" y="4471251"/>
            <a:ext cx="72130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/>
              <a:t>29,7</a:t>
            </a:r>
            <a:endParaRPr lang="ru-RU" sz="1000" b="1" dirty="0"/>
          </a:p>
        </p:txBody>
      </p:sp>
      <p:sp>
        <p:nvSpPr>
          <p:cNvPr id="97" name="TextBox 96"/>
          <p:cNvSpPr txBox="1"/>
          <p:nvPr/>
        </p:nvSpPr>
        <p:spPr>
          <a:xfrm>
            <a:off x="9018625" y="4954030"/>
            <a:ext cx="72130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/>
              <a:t>16,5</a:t>
            </a:r>
            <a:endParaRPr lang="ru-RU" sz="1000" b="1" dirty="0"/>
          </a:p>
        </p:txBody>
      </p:sp>
      <p:sp>
        <p:nvSpPr>
          <p:cNvPr id="98" name="TextBox 97"/>
          <p:cNvSpPr txBox="1"/>
          <p:nvPr/>
        </p:nvSpPr>
        <p:spPr>
          <a:xfrm>
            <a:off x="8837252" y="5668317"/>
            <a:ext cx="7213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rgbClr val="C00000"/>
                </a:solidFill>
              </a:rPr>
              <a:t>4,5</a:t>
            </a:r>
            <a:endParaRPr lang="ru-RU" sz="1200" b="1" dirty="0">
              <a:solidFill>
                <a:srgbClr val="C00000"/>
              </a:solidFill>
            </a:endParaRPr>
          </a:p>
        </p:txBody>
      </p:sp>
      <p:graphicFrame>
        <p:nvGraphicFramePr>
          <p:cNvPr id="99" name="Диаграмма 98"/>
          <p:cNvGraphicFramePr/>
          <p:nvPr>
            <p:extLst>
              <p:ext uri="{D42A27DB-BD31-4B8C-83A1-F6EECF244321}">
                <p14:modId xmlns:p14="http://schemas.microsoft.com/office/powerpoint/2010/main" val="1972727554"/>
              </p:ext>
            </p:extLst>
          </p:nvPr>
        </p:nvGraphicFramePr>
        <p:xfrm>
          <a:off x="-155396" y="5968189"/>
          <a:ext cx="2904382" cy="1281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graphicFrame>
        <p:nvGraphicFramePr>
          <p:cNvPr id="100" name="Диаграмма 99"/>
          <p:cNvGraphicFramePr/>
          <p:nvPr>
            <p:extLst>
              <p:ext uri="{D42A27DB-BD31-4B8C-83A1-F6EECF244321}">
                <p14:modId xmlns:p14="http://schemas.microsoft.com/office/powerpoint/2010/main" val="2164250270"/>
              </p:ext>
            </p:extLst>
          </p:nvPr>
        </p:nvGraphicFramePr>
        <p:xfrm>
          <a:off x="2601508" y="5935603"/>
          <a:ext cx="2904382" cy="1281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graphicFrame>
        <p:nvGraphicFramePr>
          <p:cNvPr id="101" name="Диаграмма 100"/>
          <p:cNvGraphicFramePr/>
          <p:nvPr>
            <p:extLst>
              <p:ext uri="{D42A27DB-BD31-4B8C-83A1-F6EECF244321}">
                <p14:modId xmlns:p14="http://schemas.microsoft.com/office/powerpoint/2010/main" val="428828611"/>
              </p:ext>
            </p:extLst>
          </p:nvPr>
        </p:nvGraphicFramePr>
        <p:xfrm>
          <a:off x="5121477" y="5910721"/>
          <a:ext cx="2904382" cy="1281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graphicFrame>
        <p:nvGraphicFramePr>
          <p:cNvPr id="102" name="Диаграмма 101"/>
          <p:cNvGraphicFramePr/>
          <p:nvPr>
            <p:extLst>
              <p:ext uri="{D42A27DB-BD31-4B8C-83A1-F6EECF244321}">
                <p14:modId xmlns:p14="http://schemas.microsoft.com/office/powerpoint/2010/main" val="1694834699"/>
              </p:ext>
            </p:extLst>
          </p:nvPr>
        </p:nvGraphicFramePr>
        <p:xfrm>
          <a:off x="7465168" y="5899508"/>
          <a:ext cx="2904382" cy="1281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</p:spTree>
    <p:extLst>
      <p:ext uri="{BB962C8B-B14F-4D97-AF65-F5344CB8AC3E}">
        <p14:creationId xmlns:p14="http://schemas.microsoft.com/office/powerpoint/2010/main" val="4150702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1771" y="86233"/>
            <a:ext cx="7653600" cy="953775"/>
          </a:xfrm>
        </p:spPr>
        <p:txBody>
          <a:bodyPr anchor="ctr"/>
          <a:lstStyle/>
          <a:p>
            <a:r>
              <a:rPr lang="ru-RU" sz="1800" b="1" dirty="0" smtClean="0"/>
              <a:t>География присутствия ОАО </a:t>
            </a:r>
            <a:r>
              <a:rPr lang="ru-RU" sz="1800" b="1" dirty="0"/>
              <a:t>«ФГК»</a:t>
            </a:r>
            <a:endParaRPr lang="ru-RU" sz="1800" dirty="0"/>
          </a:p>
        </p:txBody>
      </p:sp>
      <p:grpSp>
        <p:nvGrpSpPr>
          <p:cNvPr id="63" name="Группа 62"/>
          <p:cNvGrpSpPr/>
          <p:nvPr/>
        </p:nvGrpSpPr>
        <p:grpSpPr>
          <a:xfrm>
            <a:off x="140307" y="-677929"/>
            <a:ext cx="9884773" cy="7080580"/>
            <a:chOff x="124537" y="1205929"/>
            <a:chExt cx="9884773" cy="5789627"/>
          </a:xfrm>
          <a:scene3d>
            <a:camera prst="perspectiveRelaxed"/>
            <a:lightRig rig="threePt" dir="t"/>
          </a:scene3d>
        </p:grpSpPr>
        <p:sp>
          <p:nvSpPr>
            <p:cNvPr id="35" name="Полилиния 34"/>
            <p:cNvSpPr/>
            <p:nvPr/>
          </p:nvSpPr>
          <p:spPr>
            <a:xfrm>
              <a:off x="585124" y="1205929"/>
              <a:ext cx="9346992" cy="5251704"/>
            </a:xfrm>
            <a:custGeom>
              <a:avLst/>
              <a:gdLst>
                <a:gd name="connsiteX0" fmla="*/ 1405719 w 9758149"/>
                <a:gd name="connsiteY0" fmla="*/ 1296538 h 5397690"/>
                <a:gd name="connsiteX1" fmla="*/ 1753737 w 9758149"/>
                <a:gd name="connsiteY1" fmla="*/ 1364776 h 5397690"/>
                <a:gd name="connsiteX2" fmla="*/ 1828800 w 9758149"/>
                <a:gd name="connsiteY2" fmla="*/ 1323833 h 5397690"/>
                <a:gd name="connsiteX3" fmla="*/ 1828800 w 9758149"/>
                <a:gd name="connsiteY3" fmla="*/ 1248770 h 5397690"/>
                <a:gd name="connsiteX4" fmla="*/ 1869743 w 9758149"/>
                <a:gd name="connsiteY4" fmla="*/ 1207827 h 5397690"/>
                <a:gd name="connsiteX5" fmla="*/ 1937982 w 9758149"/>
                <a:gd name="connsiteY5" fmla="*/ 1214651 h 5397690"/>
                <a:gd name="connsiteX6" fmla="*/ 1937982 w 9758149"/>
                <a:gd name="connsiteY6" fmla="*/ 1214651 h 5397690"/>
                <a:gd name="connsiteX7" fmla="*/ 1944806 w 9758149"/>
                <a:gd name="connsiteY7" fmla="*/ 1139588 h 5397690"/>
                <a:gd name="connsiteX8" fmla="*/ 1985749 w 9758149"/>
                <a:gd name="connsiteY8" fmla="*/ 1139588 h 5397690"/>
                <a:gd name="connsiteX9" fmla="*/ 1992573 w 9758149"/>
                <a:gd name="connsiteY9" fmla="*/ 1078173 h 5397690"/>
                <a:gd name="connsiteX10" fmla="*/ 2047164 w 9758149"/>
                <a:gd name="connsiteY10" fmla="*/ 1078173 h 5397690"/>
                <a:gd name="connsiteX11" fmla="*/ 2074459 w 9758149"/>
                <a:gd name="connsiteY11" fmla="*/ 1044054 h 5397690"/>
                <a:gd name="connsiteX12" fmla="*/ 2142698 w 9758149"/>
                <a:gd name="connsiteY12" fmla="*/ 1037230 h 5397690"/>
                <a:gd name="connsiteX13" fmla="*/ 2176817 w 9758149"/>
                <a:gd name="connsiteY13" fmla="*/ 962167 h 5397690"/>
                <a:gd name="connsiteX14" fmla="*/ 2251880 w 9758149"/>
                <a:gd name="connsiteY14" fmla="*/ 921224 h 5397690"/>
                <a:gd name="connsiteX15" fmla="*/ 2313295 w 9758149"/>
                <a:gd name="connsiteY15" fmla="*/ 921224 h 5397690"/>
                <a:gd name="connsiteX16" fmla="*/ 2354238 w 9758149"/>
                <a:gd name="connsiteY16" fmla="*/ 887105 h 5397690"/>
                <a:gd name="connsiteX17" fmla="*/ 2354238 w 9758149"/>
                <a:gd name="connsiteY17" fmla="*/ 832514 h 5397690"/>
                <a:gd name="connsiteX18" fmla="*/ 2374710 w 9758149"/>
                <a:gd name="connsiteY18" fmla="*/ 791570 h 5397690"/>
                <a:gd name="connsiteX19" fmla="*/ 2442949 w 9758149"/>
                <a:gd name="connsiteY19" fmla="*/ 798394 h 5397690"/>
                <a:gd name="connsiteX20" fmla="*/ 2470244 w 9758149"/>
                <a:gd name="connsiteY20" fmla="*/ 757451 h 5397690"/>
                <a:gd name="connsiteX21" fmla="*/ 2518012 w 9758149"/>
                <a:gd name="connsiteY21" fmla="*/ 764275 h 5397690"/>
                <a:gd name="connsiteX22" fmla="*/ 2565779 w 9758149"/>
                <a:gd name="connsiteY22" fmla="*/ 818866 h 5397690"/>
                <a:gd name="connsiteX23" fmla="*/ 2627194 w 9758149"/>
                <a:gd name="connsiteY23" fmla="*/ 825690 h 5397690"/>
                <a:gd name="connsiteX24" fmla="*/ 2661313 w 9758149"/>
                <a:gd name="connsiteY24" fmla="*/ 859809 h 5397690"/>
                <a:gd name="connsiteX25" fmla="*/ 2674961 w 9758149"/>
                <a:gd name="connsiteY25" fmla="*/ 907576 h 5397690"/>
                <a:gd name="connsiteX26" fmla="*/ 2654489 w 9758149"/>
                <a:gd name="connsiteY26" fmla="*/ 955344 h 5397690"/>
                <a:gd name="connsiteX27" fmla="*/ 2654489 w 9758149"/>
                <a:gd name="connsiteY27" fmla="*/ 996287 h 5397690"/>
                <a:gd name="connsiteX28" fmla="*/ 2688609 w 9758149"/>
                <a:gd name="connsiteY28" fmla="*/ 1050878 h 5397690"/>
                <a:gd name="connsiteX29" fmla="*/ 2702256 w 9758149"/>
                <a:gd name="connsiteY29" fmla="*/ 1098645 h 5397690"/>
                <a:gd name="connsiteX30" fmla="*/ 2688609 w 9758149"/>
                <a:gd name="connsiteY30" fmla="*/ 1194179 h 5397690"/>
                <a:gd name="connsiteX31" fmla="*/ 2688609 w 9758149"/>
                <a:gd name="connsiteY31" fmla="*/ 1310185 h 5397690"/>
                <a:gd name="connsiteX32" fmla="*/ 2688609 w 9758149"/>
                <a:gd name="connsiteY32" fmla="*/ 1392072 h 5397690"/>
                <a:gd name="connsiteX33" fmla="*/ 2647665 w 9758149"/>
                <a:gd name="connsiteY33" fmla="*/ 1473958 h 5397690"/>
                <a:gd name="connsiteX34" fmla="*/ 2586250 w 9758149"/>
                <a:gd name="connsiteY34" fmla="*/ 1514902 h 5397690"/>
                <a:gd name="connsiteX35" fmla="*/ 2490716 w 9758149"/>
                <a:gd name="connsiteY35" fmla="*/ 1514902 h 5397690"/>
                <a:gd name="connsiteX36" fmla="*/ 2429301 w 9758149"/>
                <a:gd name="connsiteY36" fmla="*/ 1467135 h 5397690"/>
                <a:gd name="connsiteX37" fmla="*/ 2388358 w 9758149"/>
                <a:gd name="connsiteY37" fmla="*/ 1405720 h 5397690"/>
                <a:gd name="connsiteX38" fmla="*/ 2361062 w 9758149"/>
                <a:gd name="connsiteY38" fmla="*/ 1344305 h 5397690"/>
                <a:gd name="connsiteX39" fmla="*/ 2354238 w 9758149"/>
                <a:gd name="connsiteY39" fmla="*/ 1262418 h 5397690"/>
                <a:gd name="connsiteX40" fmla="*/ 2333767 w 9758149"/>
                <a:gd name="connsiteY40" fmla="*/ 1207827 h 5397690"/>
                <a:gd name="connsiteX41" fmla="*/ 2326943 w 9758149"/>
                <a:gd name="connsiteY41" fmla="*/ 1166884 h 5397690"/>
                <a:gd name="connsiteX42" fmla="*/ 2292823 w 9758149"/>
                <a:gd name="connsiteY42" fmla="*/ 1228299 h 5397690"/>
                <a:gd name="connsiteX43" fmla="*/ 2292823 w 9758149"/>
                <a:gd name="connsiteY43" fmla="*/ 1289714 h 5397690"/>
                <a:gd name="connsiteX44" fmla="*/ 2251880 w 9758149"/>
                <a:gd name="connsiteY44" fmla="*/ 1337481 h 5397690"/>
                <a:gd name="connsiteX45" fmla="*/ 2197289 w 9758149"/>
                <a:gd name="connsiteY45" fmla="*/ 1344305 h 5397690"/>
                <a:gd name="connsiteX46" fmla="*/ 2142698 w 9758149"/>
                <a:gd name="connsiteY46" fmla="*/ 1412544 h 5397690"/>
                <a:gd name="connsiteX47" fmla="*/ 2142698 w 9758149"/>
                <a:gd name="connsiteY47" fmla="*/ 1473958 h 5397690"/>
                <a:gd name="connsiteX48" fmla="*/ 2115403 w 9758149"/>
                <a:gd name="connsiteY48" fmla="*/ 1528550 h 5397690"/>
                <a:gd name="connsiteX49" fmla="*/ 2149522 w 9758149"/>
                <a:gd name="connsiteY49" fmla="*/ 1576317 h 5397690"/>
                <a:gd name="connsiteX50" fmla="*/ 2190465 w 9758149"/>
                <a:gd name="connsiteY50" fmla="*/ 1549021 h 5397690"/>
                <a:gd name="connsiteX51" fmla="*/ 2176817 w 9758149"/>
                <a:gd name="connsiteY51" fmla="*/ 1514902 h 5397690"/>
                <a:gd name="connsiteX52" fmla="*/ 2204113 w 9758149"/>
                <a:gd name="connsiteY52" fmla="*/ 1446663 h 5397690"/>
                <a:gd name="connsiteX53" fmla="*/ 2245056 w 9758149"/>
                <a:gd name="connsiteY53" fmla="*/ 1446663 h 5397690"/>
                <a:gd name="connsiteX54" fmla="*/ 2279176 w 9758149"/>
                <a:gd name="connsiteY54" fmla="*/ 1433015 h 5397690"/>
                <a:gd name="connsiteX55" fmla="*/ 2299647 w 9758149"/>
                <a:gd name="connsiteY55" fmla="*/ 1460311 h 5397690"/>
                <a:gd name="connsiteX56" fmla="*/ 2292823 w 9758149"/>
                <a:gd name="connsiteY56" fmla="*/ 1521726 h 5397690"/>
                <a:gd name="connsiteX57" fmla="*/ 2306471 w 9758149"/>
                <a:gd name="connsiteY57" fmla="*/ 1596788 h 5397690"/>
                <a:gd name="connsiteX58" fmla="*/ 2340591 w 9758149"/>
                <a:gd name="connsiteY58" fmla="*/ 1603612 h 5397690"/>
                <a:gd name="connsiteX59" fmla="*/ 2367886 w 9758149"/>
                <a:gd name="connsiteY59" fmla="*/ 1589964 h 5397690"/>
                <a:gd name="connsiteX60" fmla="*/ 2374710 w 9758149"/>
                <a:gd name="connsiteY60" fmla="*/ 1549021 h 5397690"/>
                <a:gd name="connsiteX61" fmla="*/ 2429301 w 9758149"/>
                <a:gd name="connsiteY61" fmla="*/ 1535373 h 5397690"/>
                <a:gd name="connsiteX62" fmla="*/ 2490716 w 9758149"/>
                <a:gd name="connsiteY62" fmla="*/ 1562669 h 5397690"/>
                <a:gd name="connsiteX63" fmla="*/ 2565779 w 9758149"/>
                <a:gd name="connsiteY63" fmla="*/ 1549021 h 5397690"/>
                <a:gd name="connsiteX64" fmla="*/ 2606722 w 9758149"/>
                <a:gd name="connsiteY64" fmla="*/ 1576317 h 5397690"/>
                <a:gd name="connsiteX65" fmla="*/ 2620370 w 9758149"/>
                <a:gd name="connsiteY65" fmla="*/ 1624084 h 5397690"/>
                <a:gd name="connsiteX66" fmla="*/ 2668137 w 9758149"/>
                <a:gd name="connsiteY66" fmla="*/ 1624084 h 5397690"/>
                <a:gd name="connsiteX67" fmla="*/ 2709080 w 9758149"/>
                <a:gd name="connsiteY67" fmla="*/ 1603612 h 5397690"/>
                <a:gd name="connsiteX68" fmla="*/ 2709080 w 9758149"/>
                <a:gd name="connsiteY68" fmla="*/ 1549021 h 5397690"/>
                <a:gd name="connsiteX69" fmla="*/ 2750023 w 9758149"/>
                <a:gd name="connsiteY69" fmla="*/ 1528550 h 5397690"/>
                <a:gd name="connsiteX70" fmla="*/ 2790967 w 9758149"/>
                <a:gd name="connsiteY70" fmla="*/ 1528550 h 5397690"/>
                <a:gd name="connsiteX71" fmla="*/ 2825086 w 9758149"/>
                <a:gd name="connsiteY71" fmla="*/ 1473958 h 5397690"/>
                <a:gd name="connsiteX72" fmla="*/ 2852382 w 9758149"/>
                <a:gd name="connsiteY72" fmla="*/ 1467135 h 5397690"/>
                <a:gd name="connsiteX73" fmla="*/ 2852382 w 9758149"/>
                <a:gd name="connsiteY73" fmla="*/ 1439839 h 5397690"/>
                <a:gd name="connsiteX74" fmla="*/ 2879677 w 9758149"/>
                <a:gd name="connsiteY74" fmla="*/ 1426191 h 5397690"/>
                <a:gd name="connsiteX75" fmla="*/ 2879677 w 9758149"/>
                <a:gd name="connsiteY75" fmla="*/ 1426191 h 5397690"/>
                <a:gd name="connsiteX76" fmla="*/ 2927444 w 9758149"/>
                <a:gd name="connsiteY76" fmla="*/ 1501254 h 5397690"/>
                <a:gd name="connsiteX77" fmla="*/ 2927444 w 9758149"/>
                <a:gd name="connsiteY77" fmla="*/ 1549021 h 5397690"/>
                <a:gd name="connsiteX78" fmla="*/ 2900149 w 9758149"/>
                <a:gd name="connsiteY78" fmla="*/ 1610436 h 5397690"/>
                <a:gd name="connsiteX79" fmla="*/ 2866029 w 9758149"/>
                <a:gd name="connsiteY79" fmla="*/ 1617260 h 5397690"/>
                <a:gd name="connsiteX80" fmla="*/ 2838734 w 9758149"/>
                <a:gd name="connsiteY80" fmla="*/ 1596788 h 5397690"/>
                <a:gd name="connsiteX81" fmla="*/ 2797791 w 9758149"/>
                <a:gd name="connsiteY81" fmla="*/ 1603612 h 5397690"/>
                <a:gd name="connsiteX82" fmla="*/ 2790967 w 9758149"/>
                <a:gd name="connsiteY82" fmla="*/ 1637732 h 5397690"/>
                <a:gd name="connsiteX83" fmla="*/ 2790967 w 9758149"/>
                <a:gd name="connsiteY83" fmla="*/ 1665027 h 5397690"/>
                <a:gd name="connsiteX84" fmla="*/ 2770495 w 9758149"/>
                <a:gd name="connsiteY84" fmla="*/ 1678675 h 5397690"/>
                <a:gd name="connsiteX85" fmla="*/ 2804615 w 9758149"/>
                <a:gd name="connsiteY85" fmla="*/ 1705970 h 5397690"/>
                <a:gd name="connsiteX86" fmla="*/ 2852382 w 9758149"/>
                <a:gd name="connsiteY86" fmla="*/ 1705970 h 5397690"/>
                <a:gd name="connsiteX87" fmla="*/ 2893325 w 9758149"/>
                <a:gd name="connsiteY87" fmla="*/ 1678675 h 5397690"/>
                <a:gd name="connsiteX88" fmla="*/ 2941092 w 9758149"/>
                <a:gd name="connsiteY88" fmla="*/ 1692323 h 5397690"/>
                <a:gd name="connsiteX89" fmla="*/ 2961564 w 9758149"/>
                <a:gd name="connsiteY89" fmla="*/ 1671851 h 5397690"/>
                <a:gd name="connsiteX90" fmla="*/ 3022979 w 9758149"/>
                <a:gd name="connsiteY90" fmla="*/ 1685499 h 5397690"/>
                <a:gd name="connsiteX91" fmla="*/ 3111689 w 9758149"/>
                <a:gd name="connsiteY91" fmla="*/ 1699147 h 5397690"/>
                <a:gd name="connsiteX92" fmla="*/ 3118513 w 9758149"/>
                <a:gd name="connsiteY92" fmla="*/ 1740090 h 5397690"/>
                <a:gd name="connsiteX93" fmla="*/ 3186752 w 9758149"/>
                <a:gd name="connsiteY93" fmla="*/ 1733266 h 5397690"/>
                <a:gd name="connsiteX94" fmla="*/ 3207223 w 9758149"/>
                <a:gd name="connsiteY94" fmla="*/ 1726442 h 5397690"/>
                <a:gd name="connsiteX95" fmla="*/ 3268638 w 9758149"/>
                <a:gd name="connsiteY95" fmla="*/ 1740090 h 5397690"/>
                <a:gd name="connsiteX96" fmla="*/ 3289110 w 9758149"/>
                <a:gd name="connsiteY96" fmla="*/ 1781033 h 5397690"/>
                <a:gd name="connsiteX97" fmla="*/ 3241343 w 9758149"/>
                <a:gd name="connsiteY97" fmla="*/ 1787857 h 5397690"/>
                <a:gd name="connsiteX98" fmla="*/ 3220871 w 9758149"/>
                <a:gd name="connsiteY98" fmla="*/ 1815153 h 5397690"/>
                <a:gd name="connsiteX99" fmla="*/ 3241343 w 9758149"/>
                <a:gd name="connsiteY99" fmla="*/ 1849272 h 5397690"/>
                <a:gd name="connsiteX100" fmla="*/ 3282286 w 9758149"/>
                <a:gd name="connsiteY100" fmla="*/ 1842448 h 5397690"/>
                <a:gd name="connsiteX101" fmla="*/ 3309582 w 9758149"/>
                <a:gd name="connsiteY101" fmla="*/ 1835624 h 5397690"/>
                <a:gd name="connsiteX102" fmla="*/ 3343701 w 9758149"/>
                <a:gd name="connsiteY102" fmla="*/ 1856096 h 5397690"/>
                <a:gd name="connsiteX103" fmla="*/ 3350525 w 9758149"/>
                <a:gd name="connsiteY103" fmla="*/ 1897039 h 5397690"/>
                <a:gd name="connsiteX104" fmla="*/ 3418764 w 9758149"/>
                <a:gd name="connsiteY104" fmla="*/ 1883391 h 5397690"/>
                <a:gd name="connsiteX105" fmla="*/ 3452883 w 9758149"/>
                <a:gd name="connsiteY105" fmla="*/ 1897039 h 5397690"/>
                <a:gd name="connsiteX106" fmla="*/ 3466531 w 9758149"/>
                <a:gd name="connsiteY106" fmla="*/ 1862920 h 5397690"/>
                <a:gd name="connsiteX107" fmla="*/ 3507474 w 9758149"/>
                <a:gd name="connsiteY107" fmla="*/ 1862920 h 5397690"/>
                <a:gd name="connsiteX108" fmla="*/ 3507474 w 9758149"/>
                <a:gd name="connsiteY108" fmla="*/ 1903863 h 5397690"/>
                <a:gd name="connsiteX109" fmla="*/ 3480179 w 9758149"/>
                <a:gd name="connsiteY109" fmla="*/ 1931158 h 5397690"/>
                <a:gd name="connsiteX110" fmla="*/ 3493826 w 9758149"/>
                <a:gd name="connsiteY110" fmla="*/ 1958454 h 5397690"/>
                <a:gd name="connsiteX111" fmla="*/ 3534770 w 9758149"/>
                <a:gd name="connsiteY111" fmla="*/ 1951630 h 5397690"/>
                <a:gd name="connsiteX112" fmla="*/ 3548417 w 9758149"/>
                <a:gd name="connsiteY112" fmla="*/ 1897039 h 5397690"/>
                <a:gd name="connsiteX113" fmla="*/ 3534770 w 9758149"/>
                <a:gd name="connsiteY113" fmla="*/ 1828800 h 5397690"/>
                <a:gd name="connsiteX114" fmla="*/ 3521122 w 9758149"/>
                <a:gd name="connsiteY114" fmla="*/ 1767385 h 5397690"/>
                <a:gd name="connsiteX115" fmla="*/ 3541594 w 9758149"/>
                <a:gd name="connsiteY115" fmla="*/ 1733266 h 5397690"/>
                <a:gd name="connsiteX116" fmla="*/ 3568889 w 9758149"/>
                <a:gd name="connsiteY116" fmla="*/ 1719618 h 5397690"/>
                <a:gd name="connsiteX117" fmla="*/ 3603009 w 9758149"/>
                <a:gd name="connsiteY117" fmla="*/ 1746914 h 5397690"/>
                <a:gd name="connsiteX118" fmla="*/ 3623480 w 9758149"/>
                <a:gd name="connsiteY118" fmla="*/ 1794681 h 5397690"/>
                <a:gd name="connsiteX119" fmla="*/ 3623480 w 9758149"/>
                <a:gd name="connsiteY119" fmla="*/ 1849272 h 5397690"/>
                <a:gd name="connsiteX120" fmla="*/ 3671247 w 9758149"/>
                <a:gd name="connsiteY120" fmla="*/ 1883391 h 5397690"/>
                <a:gd name="connsiteX121" fmla="*/ 3712191 w 9758149"/>
                <a:gd name="connsiteY121" fmla="*/ 1958454 h 5397690"/>
                <a:gd name="connsiteX122" fmla="*/ 3759958 w 9758149"/>
                <a:gd name="connsiteY122" fmla="*/ 2019869 h 5397690"/>
                <a:gd name="connsiteX123" fmla="*/ 3780429 w 9758149"/>
                <a:gd name="connsiteY123" fmla="*/ 2088108 h 5397690"/>
                <a:gd name="connsiteX124" fmla="*/ 3807725 w 9758149"/>
                <a:gd name="connsiteY124" fmla="*/ 2135875 h 5397690"/>
                <a:gd name="connsiteX125" fmla="*/ 3807725 w 9758149"/>
                <a:gd name="connsiteY125" fmla="*/ 2204114 h 5397690"/>
                <a:gd name="connsiteX126" fmla="*/ 3855492 w 9758149"/>
                <a:gd name="connsiteY126" fmla="*/ 2217761 h 5397690"/>
                <a:gd name="connsiteX127" fmla="*/ 3875964 w 9758149"/>
                <a:gd name="connsiteY127" fmla="*/ 2176818 h 5397690"/>
                <a:gd name="connsiteX128" fmla="*/ 3855492 w 9758149"/>
                <a:gd name="connsiteY128" fmla="*/ 2135875 h 5397690"/>
                <a:gd name="connsiteX129" fmla="*/ 3855492 w 9758149"/>
                <a:gd name="connsiteY129" fmla="*/ 2081284 h 5397690"/>
                <a:gd name="connsiteX130" fmla="*/ 3875964 w 9758149"/>
                <a:gd name="connsiteY130" fmla="*/ 2060812 h 5397690"/>
                <a:gd name="connsiteX131" fmla="*/ 3855492 w 9758149"/>
                <a:gd name="connsiteY131" fmla="*/ 2026693 h 5397690"/>
                <a:gd name="connsiteX132" fmla="*/ 3855492 w 9758149"/>
                <a:gd name="connsiteY132" fmla="*/ 1985750 h 5397690"/>
                <a:gd name="connsiteX133" fmla="*/ 3889612 w 9758149"/>
                <a:gd name="connsiteY133" fmla="*/ 1937982 h 5397690"/>
                <a:gd name="connsiteX134" fmla="*/ 3910083 w 9758149"/>
                <a:gd name="connsiteY134" fmla="*/ 1828800 h 5397690"/>
                <a:gd name="connsiteX135" fmla="*/ 3944203 w 9758149"/>
                <a:gd name="connsiteY135" fmla="*/ 1815153 h 5397690"/>
                <a:gd name="connsiteX136" fmla="*/ 3985146 w 9758149"/>
                <a:gd name="connsiteY136" fmla="*/ 1815153 h 5397690"/>
                <a:gd name="connsiteX137" fmla="*/ 4060209 w 9758149"/>
                <a:gd name="connsiteY137" fmla="*/ 1767385 h 5397690"/>
                <a:gd name="connsiteX138" fmla="*/ 4087504 w 9758149"/>
                <a:gd name="connsiteY138" fmla="*/ 1712794 h 5397690"/>
                <a:gd name="connsiteX139" fmla="*/ 4135271 w 9758149"/>
                <a:gd name="connsiteY139" fmla="*/ 1671851 h 5397690"/>
                <a:gd name="connsiteX140" fmla="*/ 4189862 w 9758149"/>
                <a:gd name="connsiteY140" fmla="*/ 1658203 h 5397690"/>
                <a:gd name="connsiteX141" fmla="*/ 4203510 w 9758149"/>
                <a:gd name="connsiteY141" fmla="*/ 1617260 h 5397690"/>
                <a:gd name="connsiteX142" fmla="*/ 4237629 w 9758149"/>
                <a:gd name="connsiteY142" fmla="*/ 1610436 h 5397690"/>
                <a:gd name="connsiteX143" fmla="*/ 4292220 w 9758149"/>
                <a:gd name="connsiteY143" fmla="*/ 1624084 h 5397690"/>
                <a:gd name="connsiteX144" fmla="*/ 4299044 w 9758149"/>
                <a:gd name="connsiteY144" fmla="*/ 1671851 h 5397690"/>
                <a:gd name="connsiteX145" fmla="*/ 4258101 w 9758149"/>
                <a:gd name="connsiteY145" fmla="*/ 1685499 h 5397690"/>
                <a:gd name="connsiteX146" fmla="*/ 4264925 w 9758149"/>
                <a:gd name="connsiteY146" fmla="*/ 1726442 h 5397690"/>
                <a:gd name="connsiteX147" fmla="*/ 4278573 w 9758149"/>
                <a:gd name="connsiteY147" fmla="*/ 1774209 h 5397690"/>
                <a:gd name="connsiteX148" fmla="*/ 4271749 w 9758149"/>
                <a:gd name="connsiteY148" fmla="*/ 1815153 h 5397690"/>
                <a:gd name="connsiteX149" fmla="*/ 4237629 w 9758149"/>
                <a:gd name="connsiteY149" fmla="*/ 1849272 h 5397690"/>
                <a:gd name="connsiteX150" fmla="*/ 4223982 w 9758149"/>
                <a:gd name="connsiteY150" fmla="*/ 1903863 h 5397690"/>
                <a:gd name="connsiteX151" fmla="*/ 4264925 w 9758149"/>
                <a:gd name="connsiteY151" fmla="*/ 1876567 h 5397690"/>
                <a:gd name="connsiteX152" fmla="*/ 4305868 w 9758149"/>
                <a:gd name="connsiteY152" fmla="*/ 1876567 h 5397690"/>
                <a:gd name="connsiteX153" fmla="*/ 4333164 w 9758149"/>
                <a:gd name="connsiteY153" fmla="*/ 1828800 h 5397690"/>
                <a:gd name="connsiteX154" fmla="*/ 4346812 w 9758149"/>
                <a:gd name="connsiteY154" fmla="*/ 1774209 h 5397690"/>
                <a:gd name="connsiteX155" fmla="*/ 4353635 w 9758149"/>
                <a:gd name="connsiteY155" fmla="*/ 1719618 h 5397690"/>
                <a:gd name="connsiteX156" fmla="*/ 4353635 w 9758149"/>
                <a:gd name="connsiteY156" fmla="*/ 1719618 h 5397690"/>
                <a:gd name="connsiteX157" fmla="*/ 4401403 w 9758149"/>
                <a:gd name="connsiteY157" fmla="*/ 1719618 h 5397690"/>
                <a:gd name="connsiteX158" fmla="*/ 4421874 w 9758149"/>
                <a:gd name="connsiteY158" fmla="*/ 1760561 h 5397690"/>
                <a:gd name="connsiteX159" fmla="*/ 4401403 w 9758149"/>
                <a:gd name="connsiteY159" fmla="*/ 1808329 h 5397690"/>
                <a:gd name="connsiteX160" fmla="*/ 4421874 w 9758149"/>
                <a:gd name="connsiteY160" fmla="*/ 1835624 h 5397690"/>
                <a:gd name="connsiteX161" fmla="*/ 4469641 w 9758149"/>
                <a:gd name="connsiteY161" fmla="*/ 1828800 h 5397690"/>
                <a:gd name="connsiteX162" fmla="*/ 4496937 w 9758149"/>
                <a:gd name="connsiteY162" fmla="*/ 1876567 h 5397690"/>
                <a:gd name="connsiteX163" fmla="*/ 4531056 w 9758149"/>
                <a:gd name="connsiteY163" fmla="*/ 1883391 h 5397690"/>
                <a:gd name="connsiteX164" fmla="*/ 4551528 w 9758149"/>
                <a:gd name="connsiteY164" fmla="*/ 1931158 h 5397690"/>
                <a:gd name="connsiteX165" fmla="*/ 4592471 w 9758149"/>
                <a:gd name="connsiteY165" fmla="*/ 1992573 h 5397690"/>
                <a:gd name="connsiteX166" fmla="*/ 4633415 w 9758149"/>
                <a:gd name="connsiteY166" fmla="*/ 1985750 h 5397690"/>
                <a:gd name="connsiteX167" fmla="*/ 4640238 w 9758149"/>
                <a:gd name="connsiteY167" fmla="*/ 1944806 h 5397690"/>
                <a:gd name="connsiteX168" fmla="*/ 4606119 w 9758149"/>
                <a:gd name="connsiteY168" fmla="*/ 1917511 h 5397690"/>
                <a:gd name="connsiteX169" fmla="*/ 4578823 w 9758149"/>
                <a:gd name="connsiteY169" fmla="*/ 1862920 h 5397690"/>
                <a:gd name="connsiteX170" fmla="*/ 4599295 w 9758149"/>
                <a:gd name="connsiteY170" fmla="*/ 1801505 h 5397690"/>
                <a:gd name="connsiteX171" fmla="*/ 4599295 w 9758149"/>
                <a:gd name="connsiteY171" fmla="*/ 1760561 h 5397690"/>
                <a:gd name="connsiteX172" fmla="*/ 4647062 w 9758149"/>
                <a:gd name="connsiteY172" fmla="*/ 1753738 h 5397690"/>
                <a:gd name="connsiteX173" fmla="*/ 4708477 w 9758149"/>
                <a:gd name="connsiteY173" fmla="*/ 1774209 h 5397690"/>
                <a:gd name="connsiteX174" fmla="*/ 4749420 w 9758149"/>
                <a:gd name="connsiteY174" fmla="*/ 1767385 h 5397690"/>
                <a:gd name="connsiteX175" fmla="*/ 4831307 w 9758149"/>
                <a:gd name="connsiteY175" fmla="*/ 1787857 h 5397690"/>
                <a:gd name="connsiteX176" fmla="*/ 4831307 w 9758149"/>
                <a:gd name="connsiteY176" fmla="*/ 1787857 h 5397690"/>
                <a:gd name="connsiteX177" fmla="*/ 4892722 w 9758149"/>
                <a:gd name="connsiteY177" fmla="*/ 1815153 h 5397690"/>
                <a:gd name="connsiteX178" fmla="*/ 4920017 w 9758149"/>
                <a:gd name="connsiteY178" fmla="*/ 1787857 h 5397690"/>
                <a:gd name="connsiteX179" fmla="*/ 4892722 w 9758149"/>
                <a:gd name="connsiteY179" fmla="*/ 1740090 h 5397690"/>
                <a:gd name="connsiteX180" fmla="*/ 4872250 w 9758149"/>
                <a:gd name="connsiteY180" fmla="*/ 1617260 h 5397690"/>
                <a:gd name="connsiteX181" fmla="*/ 4926841 w 9758149"/>
                <a:gd name="connsiteY181" fmla="*/ 1589964 h 5397690"/>
                <a:gd name="connsiteX182" fmla="*/ 4926841 w 9758149"/>
                <a:gd name="connsiteY182" fmla="*/ 1589964 h 5397690"/>
                <a:gd name="connsiteX183" fmla="*/ 5008728 w 9758149"/>
                <a:gd name="connsiteY183" fmla="*/ 1576317 h 5397690"/>
                <a:gd name="connsiteX184" fmla="*/ 5083791 w 9758149"/>
                <a:gd name="connsiteY184" fmla="*/ 1535373 h 5397690"/>
                <a:gd name="connsiteX185" fmla="*/ 5172501 w 9758149"/>
                <a:gd name="connsiteY185" fmla="*/ 1508078 h 5397690"/>
                <a:gd name="connsiteX186" fmla="*/ 5172501 w 9758149"/>
                <a:gd name="connsiteY186" fmla="*/ 1508078 h 5397690"/>
                <a:gd name="connsiteX187" fmla="*/ 5199797 w 9758149"/>
                <a:gd name="connsiteY187" fmla="*/ 1467135 h 5397690"/>
                <a:gd name="connsiteX188" fmla="*/ 5261212 w 9758149"/>
                <a:gd name="connsiteY188" fmla="*/ 1453487 h 5397690"/>
                <a:gd name="connsiteX189" fmla="*/ 5322626 w 9758149"/>
                <a:gd name="connsiteY189" fmla="*/ 1480782 h 5397690"/>
                <a:gd name="connsiteX190" fmla="*/ 5343098 w 9758149"/>
                <a:gd name="connsiteY190" fmla="*/ 1453487 h 5397690"/>
                <a:gd name="connsiteX191" fmla="*/ 5397689 w 9758149"/>
                <a:gd name="connsiteY191" fmla="*/ 1453487 h 5397690"/>
                <a:gd name="connsiteX192" fmla="*/ 5411337 w 9758149"/>
                <a:gd name="connsiteY192" fmla="*/ 1412544 h 5397690"/>
                <a:gd name="connsiteX193" fmla="*/ 5411337 w 9758149"/>
                <a:gd name="connsiteY193" fmla="*/ 1330657 h 5397690"/>
                <a:gd name="connsiteX194" fmla="*/ 5472752 w 9758149"/>
                <a:gd name="connsiteY194" fmla="*/ 1317009 h 5397690"/>
                <a:gd name="connsiteX195" fmla="*/ 5493223 w 9758149"/>
                <a:gd name="connsiteY195" fmla="*/ 1282890 h 5397690"/>
                <a:gd name="connsiteX196" fmla="*/ 5554638 w 9758149"/>
                <a:gd name="connsiteY196" fmla="*/ 1276066 h 5397690"/>
                <a:gd name="connsiteX197" fmla="*/ 5636525 w 9758149"/>
                <a:gd name="connsiteY197" fmla="*/ 1317009 h 5397690"/>
                <a:gd name="connsiteX198" fmla="*/ 5656997 w 9758149"/>
                <a:gd name="connsiteY198" fmla="*/ 1364776 h 5397690"/>
                <a:gd name="connsiteX199" fmla="*/ 5622877 w 9758149"/>
                <a:gd name="connsiteY199" fmla="*/ 1378424 h 5397690"/>
                <a:gd name="connsiteX200" fmla="*/ 5684292 w 9758149"/>
                <a:gd name="connsiteY200" fmla="*/ 1405720 h 5397690"/>
                <a:gd name="connsiteX201" fmla="*/ 5732059 w 9758149"/>
                <a:gd name="connsiteY201" fmla="*/ 1398896 h 5397690"/>
                <a:gd name="connsiteX202" fmla="*/ 5807122 w 9758149"/>
                <a:gd name="connsiteY202" fmla="*/ 1439839 h 5397690"/>
                <a:gd name="connsiteX203" fmla="*/ 5868537 w 9758149"/>
                <a:gd name="connsiteY203" fmla="*/ 1508078 h 5397690"/>
                <a:gd name="connsiteX204" fmla="*/ 5882185 w 9758149"/>
                <a:gd name="connsiteY204" fmla="*/ 1583141 h 5397690"/>
                <a:gd name="connsiteX205" fmla="*/ 5882185 w 9758149"/>
                <a:gd name="connsiteY205" fmla="*/ 1624084 h 5397690"/>
                <a:gd name="connsiteX206" fmla="*/ 5841241 w 9758149"/>
                <a:gd name="connsiteY206" fmla="*/ 1651379 h 5397690"/>
                <a:gd name="connsiteX207" fmla="*/ 5854889 w 9758149"/>
                <a:gd name="connsiteY207" fmla="*/ 1678675 h 5397690"/>
                <a:gd name="connsiteX208" fmla="*/ 5882185 w 9758149"/>
                <a:gd name="connsiteY208" fmla="*/ 1685499 h 5397690"/>
                <a:gd name="connsiteX209" fmla="*/ 5916304 w 9758149"/>
                <a:gd name="connsiteY209" fmla="*/ 1726442 h 5397690"/>
                <a:gd name="connsiteX210" fmla="*/ 5902656 w 9758149"/>
                <a:gd name="connsiteY210" fmla="*/ 1781033 h 5397690"/>
                <a:gd name="connsiteX211" fmla="*/ 5957247 w 9758149"/>
                <a:gd name="connsiteY211" fmla="*/ 1774209 h 5397690"/>
                <a:gd name="connsiteX212" fmla="*/ 5998191 w 9758149"/>
                <a:gd name="connsiteY212" fmla="*/ 1753738 h 5397690"/>
                <a:gd name="connsiteX213" fmla="*/ 6045958 w 9758149"/>
                <a:gd name="connsiteY213" fmla="*/ 1774209 h 5397690"/>
                <a:gd name="connsiteX214" fmla="*/ 6107373 w 9758149"/>
                <a:gd name="connsiteY214" fmla="*/ 1753738 h 5397690"/>
                <a:gd name="connsiteX215" fmla="*/ 6155140 w 9758149"/>
                <a:gd name="connsiteY215" fmla="*/ 1767385 h 5397690"/>
                <a:gd name="connsiteX216" fmla="*/ 6161964 w 9758149"/>
                <a:gd name="connsiteY216" fmla="*/ 1801505 h 5397690"/>
                <a:gd name="connsiteX217" fmla="*/ 6243850 w 9758149"/>
                <a:gd name="connsiteY217" fmla="*/ 1801505 h 5397690"/>
                <a:gd name="connsiteX218" fmla="*/ 6325737 w 9758149"/>
                <a:gd name="connsiteY218" fmla="*/ 1774209 h 5397690"/>
                <a:gd name="connsiteX219" fmla="*/ 6318913 w 9758149"/>
                <a:gd name="connsiteY219" fmla="*/ 1733266 h 5397690"/>
                <a:gd name="connsiteX220" fmla="*/ 6305265 w 9758149"/>
                <a:gd name="connsiteY220" fmla="*/ 1705970 h 5397690"/>
                <a:gd name="connsiteX221" fmla="*/ 6339385 w 9758149"/>
                <a:gd name="connsiteY221" fmla="*/ 1651379 h 5397690"/>
                <a:gd name="connsiteX222" fmla="*/ 6393976 w 9758149"/>
                <a:gd name="connsiteY222" fmla="*/ 1637732 h 5397690"/>
                <a:gd name="connsiteX223" fmla="*/ 6448567 w 9758149"/>
                <a:gd name="connsiteY223" fmla="*/ 1617260 h 5397690"/>
                <a:gd name="connsiteX224" fmla="*/ 6537277 w 9758149"/>
                <a:gd name="connsiteY224" fmla="*/ 1630908 h 5397690"/>
                <a:gd name="connsiteX225" fmla="*/ 6571397 w 9758149"/>
                <a:gd name="connsiteY225" fmla="*/ 1685499 h 5397690"/>
                <a:gd name="connsiteX226" fmla="*/ 6585044 w 9758149"/>
                <a:gd name="connsiteY226" fmla="*/ 1740090 h 5397690"/>
                <a:gd name="connsiteX227" fmla="*/ 6639635 w 9758149"/>
                <a:gd name="connsiteY227" fmla="*/ 1787857 h 5397690"/>
                <a:gd name="connsiteX228" fmla="*/ 6632812 w 9758149"/>
                <a:gd name="connsiteY228" fmla="*/ 1835624 h 5397690"/>
                <a:gd name="connsiteX229" fmla="*/ 6694226 w 9758149"/>
                <a:gd name="connsiteY229" fmla="*/ 1897039 h 5397690"/>
                <a:gd name="connsiteX230" fmla="*/ 6762465 w 9758149"/>
                <a:gd name="connsiteY230" fmla="*/ 1903863 h 5397690"/>
                <a:gd name="connsiteX231" fmla="*/ 6776113 w 9758149"/>
                <a:gd name="connsiteY231" fmla="*/ 1883391 h 5397690"/>
                <a:gd name="connsiteX232" fmla="*/ 6755641 w 9758149"/>
                <a:gd name="connsiteY232" fmla="*/ 1821976 h 5397690"/>
                <a:gd name="connsiteX233" fmla="*/ 6748817 w 9758149"/>
                <a:gd name="connsiteY233" fmla="*/ 1760561 h 5397690"/>
                <a:gd name="connsiteX234" fmla="*/ 6769289 w 9758149"/>
                <a:gd name="connsiteY234" fmla="*/ 1726442 h 5397690"/>
                <a:gd name="connsiteX235" fmla="*/ 6823880 w 9758149"/>
                <a:gd name="connsiteY235" fmla="*/ 1719618 h 5397690"/>
                <a:gd name="connsiteX236" fmla="*/ 6858000 w 9758149"/>
                <a:gd name="connsiteY236" fmla="*/ 1699147 h 5397690"/>
                <a:gd name="connsiteX237" fmla="*/ 6933062 w 9758149"/>
                <a:gd name="connsiteY237" fmla="*/ 1699147 h 5397690"/>
                <a:gd name="connsiteX238" fmla="*/ 6987653 w 9758149"/>
                <a:gd name="connsiteY238" fmla="*/ 1726442 h 5397690"/>
                <a:gd name="connsiteX239" fmla="*/ 6994477 w 9758149"/>
                <a:gd name="connsiteY239" fmla="*/ 1671851 h 5397690"/>
                <a:gd name="connsiteX240" fmla="*/ 7021773 w 9758149"/>
                <a:gd name="connsiteY240" fmla="*/ 1637732 h 5397690"/>
                <a:gd name="connsiteX241" fmla="*/ 7001301 w 9758149"/>
                <a:gd name="connsiteY241" fmla="*/ 1596788 h 5397690"/>
                <a:gd name="connsiteX242" fmla="*/ 6960358 w 9758149"/>
                <a:gd name="connsiteY242" fmla="*/ 1583141 h 5397690"/>
                <a:gd name="connsiteX243" fmla="*/ 6967182 w 9758149"/>
                <a:gd name="connsiteY243" fmla="*/ 1521726 h 5397690"/>
                <a:gd name="connsiteX244" fmla="*/ 6994477 w 9758149"/>
                <a:gd name="connsiteY244" fmla="*/ 1467135 h 5397690"/>
                <a:gd name="connsiteX245" fmla="*/ 6960358 w 9758149"/>
                <a:gd name="connsiteY245" fmla="*/ 1446663 h 5397690"/>
                <a:gd name="connsiteX246" fmla="*/ 7021773 w 9758149"/>
                <a:gd name="connsiteY246" fmla="*/ 1426191 h 5397690"/>
                <a:gd name="connsiteX247" fmla="*/ 7090012 w 9758149"/>
                <a:gd name="connsiteY247" fmla="*/ 1385248 h 5397690"/>
                <a:gd name="connsiteX248" fmla="*/ 7199194 w 9758149"/>
                <a:gd name="connsiteY248" fmla="*/ 1378424 h 5397690"/>
                <a:gd name="connsiteX249" fmla="*/ 7199194 w 9758149"/>
                <a:gd name="connsiteY249" fmla="*/ 1378424 h 5397690"/>
                <a:gd name="connsiteX250" fmla="*/ 7226489 w 9758149"/>
                <a:gd name="connsiteY250" fmla="*/ 1344305 h 5397690"/>
                <a:gd name="connsiteX251" fmla="*/ 7301552 w 9758149"/>
                <a:gd name="connsiteY251" fmla="*/ 1303361 h 5397690"/>
                <a:gd name="connsiteX252" fmla="*/ 7390262 w 9758149"/>
                <a:gd name="connsiteY252" fmla="*/ 1296538 h 5397690"/>
                <a:gd name="connsiteX253" fmla="*/ 7431206 w 9758149"/>
                <a:gd name="connsiteY253" fmla="*/ 1344305 h 5397690"/>
                <a:gd name="connsiteX254" fmla="*/ 7492620 w 9758149"/>
                <a:gd name="connsiteY254" fmla="*/ 1330657 h 5397690"/>
                <a:gd name="connsiteX255" fmla="*/ 7547212 w 9758149"/>
                <a:gd name="connsiteY255" fmla="*/ 1330657 h 5397690"/>
                <a:gd name="connsiteX256" fmla="*/ 7588155 w 9758149"/>
                <a:gd name="connsiteY256" fmla="*/ 1269242 h 5397690"/>
                <a:gd name="connsiteX257" fmla="*/ 7594979 w 9758149"/>
                <a:gd name="connsiteY257" fmla="*/ 1221475 h 5397690"/>
                <a:gd name="connsiteX258" fmla="*/ 7663217 w 9758149"/>
                <a:gd name="connsiteY258" fmla="*/ 1166884 h 5397690"/>
                <a:gd name="connsiteX259" fmla="*/ 7663217 w 9758149"/>
                <a:gd name="connsiteY259" fmla="*/ 1139588 h 5397690"/>
                <a:gd name="connsiteX260" fmla="*/ 7751928 w 9758149"/>
                <a:gd name="connsiteY260" fmla="*/ 1105469 h 5397690"/>
                <a:gd name="connsiteX261" fmla="*/ 7813343 w 9758149"/>
                <a:gd name="connsiteY261" fmla="*/ 1119117 h 5397690"/>
                <a:gd name="connsiteX262" fmla="*/ 7861110 w 9758149"/>
                <a:gd name="connsiteY262" fmla="*/ 1180532 h 5397690"/>
                <a:gd name="connsiteX263" fmla="*/ 7908877 w 9758149"/>
                <a:gd name="connsiteY263" fmla="*/ 1180532 h 5397690"/>
                <a:gd name="connsiteX264" fmla="*/ 7942997 w 9758149"/>
                <a:gd name="connsiteY264" fmla="*/ 1105469 h 5397690"/>
                <a:gd name="connsiteX265" fmla="*/ 8004412 w 9758149"/>
                <a:gd name="connsiteY265" fmla="*/ 1016758 h 5397690"/>
                <a:gd name="connsiteX266" fmla="*/ 8099946 w 9758149"/>
                <a:gd name="connsiteY266" fmla="*/ 955344 h 5397690"/>
                <a:gd name="connsiteX267" fmla="*/ 8099946 w 9758149"/>
                <a:gd name="connsiteY267" fmla="*/ 900753 h 5397690"/>
                <a:gd name="connsiteX268" fmla="*/ 8065826 w 9758149"/>
                <a:gd name="connsiteY268" fmla="*/ 859809 h 5397690"/>
                <a:gd name="connsiteX269" fmla="*/ 8065826 w 9758149"/>
                <a:gd name="connsiteY269" fmla="*/ 825690 h 5397690"/>
                <a:gd name="connsiteX270" fmla="*/ 8106770 w 9758149"/>
                <a:gd name="connsiteY270" fmla="*/ 784747 h 5397690"/>
                <a:gd name="connsiteX271" fmla="*/ 8120417 w 9758149"/>
                <a:gd name="connsiteY271" fmla="*/ 723332 h 5397690"/>
                <a:gd name="connsiteX272" fmla="*/ 8175009 w 9758149"/>
                <a:gd name="connsiteY272" fmla="*/ 682388 h 5397690"/>
                <a:gd name="connsiteX273" fmla="*/ 8222776 w 9758149"/>
                <a:gd name="connsiteY273" fmla="*/ 641445 h 5397690"/>
                <a:gd name="connsiteX274" fmla="*/ 8250071 w 9758149"/>
                <a:gd name="connsiteY274" fmla="*/ 573206 h 5397690"/>
                <a:gd name="connsiteX275" fmla="*/ 8331958 w 9758149"/>
                <a:gd name="connsiteY275" fmla="*/ 491320 h 5397690"/>
                <a:gd name="connsiteX276" fmla="*/ 8407020 w 9758149"/>
                <a:gd name="connsiteY276" fmla="*/ 409433 h 5397690"/>
                <a:gd name="connsiteX277" fmla="*/ 8475259 w 9758149"/>
                <a:gd name="connsiteY277" fmla="*/ 395785 h 5397690"/>
                <a:gd name="connsiteX278" fmla="*/ 8523026 w 9758149"/>
                <a:gd name="connsiteY278" fmla="*/ 348018 h 5397690"/>
                <a:gd name="connsiteX279" fmla="*/ 8591265 w 9758149"/>
                <a:gd name="connsiteY279" fmla="*/ 334370 h 5397690"/>
                <a:gd name="connsiteX280" fmla="*/ 8652680 w 9758149"/>
                <a:gd name="connsiteY280" fmla="*/ 279779 h 5397690"/>
                <a:gd name="connsiteX281" fmla="*/ 8714095 w 9758149"/>
                <a:gd name="connsiteY281" fmla="*/ 252484 h 5397690"/>
                <a:gd name="connsiteX282" fmla="*/ 8748215 w 9758149"/>
                <a:gd name="connsiteY282" fmla="*/ 211541 h 5397690"/>
                <a:gd name="connsiteX283" fmla="*/ 8809629 w 9758149"/>
                <a:gd name="connsiteY283" fmla="*/ 238836 h 5397690"/>
                <a:gd name="connsiteX284" fmla="*/ 8836925 w 9758149"/>
                <a:gd name="connsiteY284" fmla="*/ 163773 h 5397690"/>
                <a:gd name="connsiteX285" fmla="*/ 8864220 w 9758149"/>
                <a:gd name="connsiteY285" fmla="*/ 163773 h 5397690"/>
                <a:gd name="connsiteX286" fmla="*/ 8864220 w 9758149"/>
                <a:gd name="connsiteY286" fmla="*/ 163773 h 5397690"/>
                <a:gd name="connsiteX287" fmla="*/ 8891516 w 9758149"/>
                <a:gd name="connsiteY287" fmla="*/ 81887 h 5397690"/>
                <a:gd name="connsiteX288" fmla="*/ 8959755 w 9758149"/>
                <a:gd name="connsiteY288" fmla="*/ 47767 h 5397690"/>
                <a:gd name="connsiteX289" fmla="*/ 9000698 w 9758149"/>
                <a:gd name="connsiteY289" fmla="*/ 0 h 5397690"/>
                <a:gd name="connsiteX290" fmla="*/ 9041641 w 9758149"/>
                <a:gd name="connsiteY290" fmla="*/ 0 h 5397690"/>
                <a:gd name="connsiteX291" fmla="*/ 9075761 w 9758149"/>
                <a:gd name="connsiteY291" fmla="*/ 34120 h 5397690"/>
                <a:gd name="connsiteX292" fmla="*/ 9082585 w 9758149"/>
                <a:gd name="connsiteY292" fmla="*/ 81887 h 5397690"/>
                <a:gd name="connsiteX293" fmla="*/ 9082585 w 9758149"/>
                <a:gd name="connsiteY293" fmla="*/ 150126 h 5397690"/>
                <a:gd name="connsiteX294" fmla="*/ 9144000 w 9758149"/>
                <a:gd name="connsiteY294" fmla="*/ 184245 h 5397690"/>
                <a:gd name="connsiteX295" fmla="*/ 9219062 w 9758149"/>
                <a:gd name="connsiteY295" fmla="*/ 211541 h 5397690"/>
                <a:gd name="connsiteX296" fmla="*/ 9239534 w 9758149"/>
                <a:gd name="connsiteY296" fmla="*/ 266132 h 5397690"/>
                <a:gd name="connsiteX297" fmla="*/ 9205415 w 9758149"/>
                <a:gd name="connsiteY297" fmla="*/ 313899 h 5397690"/>
                <a:gd name="connsiteX298" fmla="*/ 9171295 w 9758149"/>
                <a:gd name="connsiteY298" fmla="*/ 354842 h 5397690"/>
                <a:gd name="connsiteX299" fmla="*/ 9123528 w 9758149"/>
                <a:gd name="connsiteY299" fmla="*/ 354842 h 5397690"/>
                <a:gd name="connsiteX300" fmla="*/ 9116704 w 9758149"/>
                <a:gd name="connsiteY300" fmla="*/ 395785 h 5397690"/>
                <a:gd name="connsiteX301" fmla="*/ 9082585 w 9758149"/>
                <a:gd name="connsiteY301" fmla="*/ 423081 h 5397690"/>
                <a:gd name="connsiteX302" fmla="*/ 9021170 w 9758149"/>
                <a:gd name="connsiteY302" fmla="*/ 423081 h 5397690"/>
                <a:gd name="connsiteX303" fmla="*/ 8973403 w 9758149"/>
                <a:gd name="connsiteY303" fmla="*/ 457200 h 5397690"/>
                <a:gd name="connsiteX304" fmla="*/ 8980226 w 9758149"/>
                <a:gd name="connsiteY304" fmla="*/ 511791 h 5397690"/>
                <a:gd name="connsiteX305" fmla="*/ 8932459 w 9758149"/>
                <a:gd name="connsiteY305" fmla="*/ 525439 h 5397690"/>
                <a:gd name="connsiteX306" fmla="*/ 8980226 w 9758149"/>
                <a:gd name="connsiteY306" fmla="*/ 607326 h 5397690"/>
                <a:gd name="connsiteX307" fmla="*/ 9007522 w 9758149"/>
                <a:gd name="connsiteY307" fmla="*/ 689212 h 5397690"/>
                <a:gd name="connsiteX308" fmla="*/ 8987050 w 9758149"/>
                <a:gd name="connsiteY308" fmla="*/ 771099 h 5397690"/>
                <a:gd name="connsiteX309" fmla="*/ 9041641 w 9758149"/>
                <a:gd name="connsiteY309" fmla="*/ 771099 h 5397690"/>
                <a:gd name="connsiteX310" fmla="*/ 9096232 w 9758149"/>
                <a:gd name="connsiteY310" fmla="*/ 736979 h 5397690"/>
                <a:gd name="connsiteX311" fmla="*/ 9157647 w 9758149"/>
                <a:gd name="connsiteY311" fmla="*/ 757451 h 5397690"/>
                <a:gd name="connsiteX312" fmla="*/ 9232710 w 9758149"/>
                <a:gd name="connsiteY312" fmla="*/ 736979 h 5397690"/>
                <a:gd name="connsiteX313" fmla="*/ 9314597 w 9758149"/>
                <a:gd name="connsiteY313" fmla="*/ 777923 h 5397690"/>
                <a:gd name="connsiteX314" fmla="*/ 9335068 w 9758149"/>
                <a:gd name="connsiteY314" fmla="*/ 832514 h 5397690"/>
                <a:gd name="connsiteX315" fmla="*/ 9266829 w 9758149"/>
                <a:gd name="connsiteY315" fmla="*/ 859809 h 5397690"/>
                <a:gd name="connsiteX316" fmla="*/ 9239534 w 9758149"/>
                <a:gd name="connsiteY316" fmla="*/ 914400 h 5397690"/>
                <a:gd name="connsiteX317" fmla="*/ 9239534 w 9758149"/>
                <a:gd name="connsiteY317" fmla="*/ 1050878 h 5397690"/>
                <a:gd name="connsiteX318" fmla="*/ 9260006 w 9758149"/>
                <a:gd name="connsiteY318" fmla="*/ 1187355 h 5397690"/>
                <a:gd name="connsiteX319" fmla="*/ 9294125 w 9758149"/>
                <a:gd name="connsiteY319" fmla="*/ 1289714 h 5397690"/>
                <a:gd name="connsiteX320" fmla="*/ 9300949 w 9758149"/>
                <a:gd name="connsiteY320" fmla="*/ 1392072 h 5397690"/>
                <a:gd name="connsiteX321" fmla="*/ 9355540 w 9758149"/>
                <a:gd name="connsiteY321" fmla="*/ 1446663 h 5397690"/>
                <a:gd name="connsiteX322" fmla="*/ 9362364 w 9758149"/>
                <a:gd name="connsiteY322" fmla="*/ 1494430 h 5397690"/>
                <a:gd name="connsiteX323" fmla="*/ 9307773 w 9758149"/>
                <a:gd name="connsiteY323" fmla="*/ 1508078 h 5397690"/>
                <a:gd name="connsiteX324" fmla="*/ 9260006 w 9758149"/>
                <a:gd name="connsiteY324" fmla="*/ 1494430 h 5397690"/>
                <a:gd name="connsiteX325" fmla="*/ 9225886 w 9758149"/>
                <a:gd name="connsiteY325" fmla="*/ 1514902 h 5397690"/>
                <a:gd name="connsiteX326" fmla="*/ 9191767 w 9758149"/>
                <a:gd name="connsiteY326" fmla="*/ 1589964 h 5397690"/>
                <a:gd name="connsiteX327" fmla="*/ 9198591 w 9758149"/>
                <a:gd name="connsiteY327" fmla="*/ 1685499 h 5397690"/>
                <a:gd name="connsiteX328" fmla="*/ 9212238 w 9758149"/>
                <a:gd name="connsiteY328" fmla="*/ 1740090 h 5397690"/>
                <a:gd name="connsiteX329" fmla="*/ 9150823 w 9758149"/>
                <a:gd name="connsiteY329" fmla="*/ 1705970 h 5397690"/>
                <a:gd name="connsiteX330" fmla="*/ 9130352 w 9758149"/>
                <a:gd name="connsiteY330" fmla="*/ 1753738 h 5397690"/>
                <a:gd name="connsiteX331" fmla="*/ 9171295 w 9758149"/>
                <a:gd name="connsiteY331" fmla="*/ 1787857 h 5397690"/>
                <a:gd name="connsiteX332" fmla="*/ 9150823 w 9758149"/>
                <a:gd name="connsiteY332" fmla="*/ 1828800 h 5397690"/>
                <a:gd name="connsiteX333" fmla="*/ 9116704 w 9758149"/>
                <a:gd name="connsiteY333" fmla="*/ 1828800 h 5397690"/>
                <a:gd name="connsiteX334" fmla="*/ 9109880 w 9758149"/>
                <a:gd name="connsiteY334" fmla="*/ 1869744 h 5397690"/>
                <a:gd name="connsiteX335" fmla="*/ 9164471 w 9758149"/>
                <a:gd name="connsiteY335" fmla="*/ 1917511 h 5397690"/>
                <a:gd name="connsiteX336" fmla="*/ 9191767 w 9758149"/>
                <a:gd name="connsiteY336" fmla="*/ 2006221 h 5397690"/>
                <a:gd name="connsiteX337" fmla="*/ 9246358 w 9758149"/>
                <a:gd name="connsiteY337" fmla="*/ 2101755 h 5397690"/>
                <a:gd name="connsiteX338" fmla="*/ 9273653 w 9758149"/>
                <a:gd name="connsiteY338" fmla="*/ 2053988 h 5397690"/>
                <a:gd name="connsiteX339" fmla="*/ 9321420 w 9758149"/>
                <a:gd name="connsiteY339" fmla="*/ 2047164 h 5397690"/>
                <a:gd name="connsiteX340" fmla="*/ 9341892 w 9758149"/>
                <a:gd name="connsiteY340" fmla="*/ 2088108 h 5397690"/>
                <a:gd name="connsiteX341" fmla="*/ 9389659 w 9758149"/>
                <a:gd name="connsiteY341" fmla="*/ 2129051 h 5397690"/>
                <a:gd name="connsiteX342" fmla="*/ 9457898 w 9758149"/>
                <a:gd name="connsiteY342" fmla="*/ 2135875 h 5397690"/>
                <a:gd name="connsiteX343" fmla="*/ 9512489 w 9758149"/>
                <a:gd name="connsiteY343" fmla="*/ 2183642 h 5397690"/>
                <a:gd name="connsiteX344" fmla="*/ 9512489 w 9758149"/>
                <a:gd name="connsiteY344" fmla="*/ 2204114 h 5397690"/>
                <a:gd name="connsiteX345" fmla="*/ 9478370 w 9758149"/>
                <a:gd name="connsiteY345" fmla="*/ 2245057 h 5397690"/>
                <a:gd name="connsiteX346" fmla="*/ 9485194 w 9758149"/>
                <a:gd name="connsiteY346" fmla="*/ 2313296 h 5397690"/>
                <a:gd name="connsiteX347" fmla="*/ 9560256 w 9758149"/>
                <a:gd name="connsiteY347" fmla="*/ 2340591 h 5397690"/>
                <a:gd name="connsiteX348" fmla="*/ 9614847 w 9758149"/>
                <a:gd name="connsiteY348" fmla="*/ 2388358 h 5397690"/>
                <a:gd name="connsiteX349" fmla="*/ 9608023 w 9758149"/>
                <a:gd name="connsiteY349" fmla="*/ 2422478 h 5397690"/>
                <a:gd name="connsiteX350" fmla="*/ 9573904 w 9758149"/>
                <a:gd name="connsiteY350" fmla="*/ 2477069 h 5397690"/>
                <a:gd name="connsiteX351" fmla="*/ 9573904 w 9758149"/>
                <a:gd name="connsiteY351" fmla="*/ 2545308 h 5397690"/>
                <a:gd name="connsiteX352" fmla="*/ 9621671 w 9758149"/>
                <a:gd name="connsiteY352" fmla="*/ 2599899 h 5397690"/>
                <a:gd name="connsiteX353" fmla="*/ 9662615 w 9758149"/>
                <a:gd name="connsiteY353" fmla="*/ 2640842 h 5397690"/>
                <a:gd name="connsiteX354" fmla="*/ 9648967 w 9758149"/>
                <a:gd name="connsiteY354" fmla="*/ 2668138 h 5397690"/>
                <a:gd name="connsiteX355" fmla="*/ 9628495 w 9758149"/>
                <a:gd name="connsiteY355" fmla="*/ 2756848 h 5397690"/>
                <a:gd name="connsiteX356" fmla="*/ 9676262 w 9758149"/>
                <a:gd name="connsiteY356" fmla="*/ 2818263 h 5397690"/>
                <a:gd name="connsiteX357" fmla="*/ 9710382 w 9758149"/>
                <a:gd name="connsiteY357" fmla="*/ 2879678 h 5397690"/>
                <a:gd name="connsiteX358" fmla="*/ 9717206 w 9758149"/>
                <a:gd name="connsiteY358" fmla="*/ 2968388 h 5397690"/>
                <a:gd name="connsiteX359" fmla="*/ 9744501 w 9758149"/>
                <a:gd name="connsiteY359" fmla="*/ 3063923 h 5397690"/>
                <a:gd name="connsiteX360" fmla="*/ 9758149 w 9758149"/>
                <a:gd name="connsiteY360" fmla="*/ 3138985 h 5397690"/>
                <a:gd name="connsiteX361" fmla="*/ 9751325 w 9758149"/>
                <a:gd name="connsiteY361" fmla="*/ 3214048 h 5397690"/>
                <a:gd name="connsiteX362" fmla="*/ 9710382 w 9758149"/>
                <a:gd name="connsiteY362" fmla="*/ 3248167 h 5397690"/>
                <a:gd name="connsiteX363" fmla="*/ 9676262 w 9758149"/>
                <a:gd name="connsiteY363" fmla="*/ 3227696 h 5397690"/>
                <a:gd name="connsiteX364" fmla="*/ 9662615 w 9758149"/>
                <a:gd name="connsiteY364" fmla="*/ 3179929 h 5397690"/>
                <a:gd name="connsiteX365" fmla="*/ 9614847 w 9758149"/>
                <a:gd name="connsiteY365" fmla="*/ 3145809 h 5397690"/>
                <a:gd name="connsiteX366" fmla="*/ 9614847 w 9758149"/>
                <a:gd name="connsiteY366" fmla="*/ 3118514 h 5397690"/>
                <a:gd name="connsiteX367" fmla="*/ 9655791 w 9758149"/>
                <a:gd name="connsiteY367" fmla="*/ 3084394 h 5397690"/>
                <a:gd name="connsiteX368" fmla="*/ 9655791 w 9758149"/>
                <a:gd name="connsiteY368" fmla="*/ 3043451 h 5397690"/>
                <a:gd name="connsiteX369" fmla="*/ 9594376 w 9758149"/>
                <a:gd name="connsiteY369" fmla="*/ 2982036 h 5397690"/>
                <a:gd name="connsiteX370" fmla="*/ 9519313 w 9758149"/>
                <a:gd name="connsiteY370" fmla="*/ 2934269 h 5397690"/>
                <a:gd name="connsiteX371" fmla="*/ 9423779 w 9758149"/>
                <a:gd name="connsiteY371" fmla="*/ 2879678 h 5397690"/>
                <a:gd name="connsiteX372" fmla="*/ 9335068 w 9758149"/>
                <a:gd name="connsiteY372" fmla="*/ 2797791 h 5397690"/>
                <a:gd name="connsiteX373" fmla="*/ 9246358 w 9758149"/>
                <a:gd name="connsiteY373" fmla="*/ 2743200 h 5397690"/>
                <a:gd name="connsiteX374" fmla="*/ 9198591 w 9758149"/>
                <a:gd name="connsiteY374" fmla="*/ 2674961 h 5397690"/>
                <a:gd name="connsiteX375" fmla="*/ 9103056 w 9758149"/>
                <a:gd name="connsiteY375" fmla="*/ 2599899 h 5397690"/>
                <a:gd name="connsiteX376" fmla="*/ 9075761 w 9758149"/>
                <a:gd name="connsiteY376" fmla="*/ 2518012 h 5397690"/>
                <a:gd name="connsiteX377" fmla="*/ 9062113 w 9758149"/>
                <a:gd name="connsiteY377" fmla="*/ 2449773 h 5397690"/>
                <a:gd name="connsiteX378" fmla="*/ 9021170 w 9758149"/>
                <a:gd name="connsiteY378" fmla="*/ 2422478 h 5397690"/>
                <a:gd name="connsiteX379" fmla="*/ 9000698 w 9758149"/>
                <a:gd name="connsiteY379" fmla="*/ 2381535 h 5397690"/>
                <a:gd name="connsiteX380" fmla="*/ 9021170 w 9758149"/>
                <a:gd name="connsiteY380" fmla="*/ 2347415 h 5397690"/>
                <a:gd name="connsiteX381" fmla="*/ 9055289 w 9758149"/>
                <a:gd name="connsiteY381" fmla="*/ 2292824 h 5397690"/>
                <a:gd name="connsiteX382" fmla="*/ 9055289 w 9758149"/>
                <a:gd name="connsiteY382" fmla="*/ 2217761 h 5397690"/>
                <a:gd name="connsiteX383" fmla="*/ 9034817 w 9758149"/>
                <a:gd name="connsiteY383" fmla="*/ 2169994 h 5397690"/>
                <a:gd name="connsiteX384" fmla="*/ 9000698 w 9758149"/>
                <a:gd name="connsiteY384" fmla="*/ 2129051 h 5397690"/>
                <a:gd name="connsiteX385" fmla="*/ 9000698 w 9758149"/>
                <a:gd name="connsiteY385" fmla="*/ 2074460 h 5397690"/>
                <a:gd name="connsiteX386" fmla="*/ 8987050 w 9758149"/>
                <a:gd name="connsiteY386" fmla="*/ 2006221 h 5397690"/>
                <a:gd name="connsiteX387" fmla="*/ 8973403 w 9758149"/>
                <a:gd name="connsiteY387" fmla="*/ 1937982 h 5397690"/>
                <a:gd name="connsiteX388" fmla="*/ 8952931 w 9758149"/>
                <a:gd name="connsiteY388" fmla="*/ 1890215 h 5397690"/>
                <a:gd name="connsiteX389" fmla="*/ 8966579 w 9758149"/>
                <a:gd name="connsiteY389" fmla="*/ 1828800 h 5397690"/>
                <a:gd name="connsiteX390" fmla="*/ 8973403 w 9758149"/>
                <a:gd name="connsiteY390" fmla="*/ 1781033 h 5397690"/>
                <a:gd name="connsiteX391" fmla="*/ 8939283 w 9758149"/>
                <a:gd name="connsiteY391" fmla="*/ 1740090 h 5397690"/>
                <a:gd name="connsiteX392" fmla="*/ 8898340 w 9758149"/>
                <a:gd name="connsiteY392" fmla="*/ 1692323 h 5397690"/>
                <a:gd name="connsiteX393" fmla="*/ 8857397 w 9758149"/>
                <a:gd name="connsiteY393" fmla="*/ 1651379 h 5397690"/>
                <a:gd name="connsiteX394" fmla="*/ 8843749 w 9758149"/>
                <a:gd name="connsiteY394" fmla="*/ 1596788 h 5397690"/>
                <a:gd name="connsiteX395" fmla="*/ 8809629 w 9758149"/>
                <a:gd name="connsiteY395" fmla="*/ 1617260 h 5397690"/>
                <a:gd name="connsiteX396" fmla="*/ 8809629 w 9758149"/>
                <a:gd name="connsiteY396" fmla="*/ 1658203 h 5397690"/>
                <a:gd name="connsiteX397" fmla="*/ 8843749 w 9758149"/>
                <a:gd name="connsiteY397" fmla="*/ 1692323 h 5397690"/>
                <a:gd name="connsiteX398" fmla="*/ 8891516 w 9758149"/>
                <a:gd name="connsiteY398" fmla="*/ 1726442 h 5397690"/>
                <a:gd name="connsiteX399" fmla="*/ 8898340 w 9758149"/>
                <a:gd name="connsiteY399" fmla="*/ 1781033 h 5397690"/>
                <a:gd name="connsiteX400" fmla="*/ 8871044 w 9758149"/>
                <a:gd name="connsiteY400" fmla="*/ 1801505 h 5397690"/>
                <a:gd name="connsiteX401" fmla="*/ 8871044 w 9758149"/>
                <a:gd name="connsiteY401" fmla="*/ 1869744 h 5397690"/>
                <a:gd name="connsiteX402" fmla="*/ 8905164 w 9758149"/>
                <a:gd name="connsiteY402" fmla="*/ 1903863 h 5397690"/>
                <a:gd name="connsiteX403" fmla="*/ 8911988 w 9758149"/>
                <a:gd name="connsiteY403" fmla="*/ 1937982 h 5397690"/>
                <a:gd name="connsiteX404" fmla="*/ 8884692 w 9758149"/>
                <a:gd name="connsiteY404" fmla="*/ 1985750 h 5397690"/>
                <a:gd name="connsiteX405" fmla="*/ 8850573 w 9758149"/>
                <a:gd name="connsiteY405" fmla="*/ 1978926 h 5397690"/>
                <a:gd name="connsiteX406" fmla="*/ 8809629 w 9758149"/>
                <a:gd name="connsiteY406" fmla="*/ 1958454 h 5397690"/>
                <a:gd name="connsiteX407" fmla="*/ 8789158 w 9758149"/>
                <a:gd name="connsiteY407" fmla="*/ 1924335 h 5397690"/>
                <a:gd name="connsiteX408" fmla="*/ 8755038 w 9758149"/>
                <a:gd name="connsiteY408" fmla="*/ 1910687 h 5397690"/>
                <a:gd name="connsiteX409" fmla="*/ 8734567 w 9758149"/>
                <a:gd name="connsiteY409" fmla="*/ 1917511 h 5397690"/>
                <a:gd name="connsiteX410" fmla="*/ 8707271 w 9758149"/>
                <a:gd name="connsiteY410" fmla="*/ 1937982 h 5397690"/>
                <a:gd name="connsiteX411" fmla="*/ 8700447 w 9758149"/>
                <a:gd name="connsiteY411" fmla="*/ 1972102 h 5397690"/>
                <a:gd name="connsiteX412" fmla="*/ 8666328 w 9758149"/>
                <a:gd name="connsiteY412" fmla="*/ 1999397 h 5397690"/>
                <a:gd name="connsiteX413" fmla="*/ 8666328 w 9758149"/>
                <a:gd name="connsiteY413" fmla="*/ 1999397 h 5397690"/>
                <a:gd name="connsiteX414" fmla="*/ 8639032 w 9758149"/>
                <a:gd name="connsiteY414" fmla="*/ 2074460 h 5397690"/>
                <a:gd name="connsiteX415" fmla="*/ 8639032 w 9758149"/>
                <a:gd name="connsiteY415" fmla="*/ 2074460 h 5397690"/>
                <a:gd name="connsiteX416" fmla="*/ 8679976 w 9758149"/>
                <a:gd name="connsiteY416" fmla="*/ 2190466 h 5397690"/>
                <a:gd name="connsiteX417" fmla="*/ 8679976 w 9758149"/>
                <a:gd name="connsiteY417" fmla="*/ 2190466 h 5397690"/>
                <a:gd name="connsiteX418" fmla="*/ 8686800 w 9758149"/>
                <a:gd name="connsiteY418" fmla="*/ 2299648 h 5397690"/>
                <a:gd name="connsiteX419" fmla="*/ 8707271 w 9758149"/>
                <a:gd name="connsiteY419" fmla="*/ 2361063 h 5397690"/>
                <a:gd name="connsiteX420" fmla="*/ 8707271 w 9758149"/>
                <a:gd name="connsiteY420" fmla="*/ 2402006 h 5397690"/>
                <a:gd name="connsiteX421" fmla="*/ 8727743 w 9758149"/>
                <a:gd name="connsiteY421" fmla="*/ 2367887 h 5397690"/>
                <a:gd name="connsiteX422" fmla="*/ 8755038 w 9758149"/>
                <a:gd name="connsiteY422" fmla="*/ 2354239 h 5397690"/>
                <a:gd name="connsiteX423" fmla="*/ 8789158 w 9758149"/>
                <a:gd name="connsiteY423" fmla="*/ 2388358 h 5397690"/>
                <a:gd name="connsiteX424" fmla="*/ 8782334 w 9758149"/>
                <a:gd name="connsiteY424" fmla="*/ 2429302 h 5397690"/>
                <a:gd name="connsiteX425" fmla="*/ 8761862 w 9758149"/>
                <a:gd name="connsiteY425" fmla="*/ 2463421 h 5397690"/>
                <a:gd name="connsiteX426" fmla="*/ 8741391 w 9758149"/>
                <a:gd name="connsiteY426" fmla="*/ 2483893 h 5397690"/>
                <a:gd name="connsiteX427" fmla="*/ 8727743 w 9758149"/>
                <a:gd name="connsiteY427" fmla="*/ 2531660 h 5397690"/>
                <a:gd name="connsiteX428" fmla="*/ 8679976 w 9758149"/>
                <a:gd name="connsiteY428" fmla="*/ 2518012 h 5397690"/>
                <a:gd name="connsiteX429" fmla="*/ 8659504 w 9758149"/>
                <a:gd name="connsiteY429" fmla="*/ 2558955 h 5397690"/>
                <a:gd name="connsiteX430" fmla="*/ 8611737 w 9758149"/>
                <a:gd name="connsiteY430" fmla="*/ 2599899 h 5397690"/>
                <a:gd name="connsiteX431" fmla="*/ 8591265 w 9758149"/>
                <a:gd name="connsiteY431" fmla="*/ 2565779 h 5397690"/>
                <a:gd name="connsiteX432" fmla="*/ 8570794 w 9758149"/>
                <a:gd name="connsiteY432" fmla="*/ 2538484 h 5397690"/>
                <a:gd name="connsiteX433" fmla="*/ 8543498 w 9758149"/>
                <a:gd name="connsiteY433" fmla="*/ 2531660 h 5397690"/>
                <a:gd name="connsiteX434" fmla="*/ 8523026 w 9758149"/>
                <a:gd name="connsiteY434" fmla="*/ 2572603 h 5397690"/>
                <a:gd name="connsiteX435" fmla="*/ 8488907 w 9758149"/>
                <a:gd name="connsiteY435" fmla="*/ 2613547 h 5397690"/>
                <a:gd name="connsiteX436" fmla="*/ 8461612 w 9758149"/>
                <a:gd name="connsiteY436" fmla="*/ 2613547 h 5397690"/>
                <a:gd name="connsiteX437" fmla="*/ 8454788 w 9758149"/>
                <a:gd name="connsiteY437" fmla="*/ 2668138 h 5397690"/>
                <a:gd name="connsiteX438" fmla="*/ 8427492 w 9758149"/>
                <a:gd name="connsiteY438" fmla="*/ 2722729 h 5397690"/>
                <a:gd name="connsiteX439" fmla="*/ 8386549 w 9758149"/>
                <a:gd name="connsiteY439" fmla="*/ 2729553 h 5397690"/>
                <a:gd name="connsiteX440" fmla="*/ 8372901 w 9758149"/>
                <a:gd name="connsiteY440" fmla="*/ 2763672 h 5397690"/>
                <a:gd name="connsiteX441" fmla="*/ 8379725 w 9758149"/>
                <a:gd name="connsiteY441" fmla="*/ 2797791 h 5397690"/>
                <a:gd name="connsiteX442" fmla="*/ 8338782 w 9758149"/>
                <a:gd name="connsiteY442" fmla="*/ 2825087 h 5397690"/>
                <a:gd name="connsiteX443" fmla="*/ 8325134 w 9758149"/>
                <a:gd name="connsiteY443" fmla="*/ 2818263 h 5397690"/>
                <a:gd name="connsiteX444" fmla="*/ 8325134 w 9758149"/>
                <a:gd name="connsiteY444" fmla="*/ 2818263 h 5397690"/>
                <a:gd name="connsiteX445" fmla="*/ 8243247 w 9758149"/>
                <a:gd name="connsiteY445" fmla="*/ 2872854 h 5397690"/>
                <a:gd name="connsiteX446" fmla="*/ 8161361 w 9758149"/>
                <a:gd name="connsiteY446" fmla="*/ 2975212 h 5397690"/>
                <a:gd name="connsiteX447" fmla="*/ 8154537 w 9758149"/>
                <a:gd name="connsiteY447" fmla="*/ 3084394 h 5397690"/>
                <a:gd name="connsiteX448" fmla="*/ 8134065 w 9758149"/>
                <a:gd name="connsiteY448" fmla="*/ 3132161 h 5397690"/>
                <a:gd name="connsiteX449" fmla="*/ 8147713 w 9758149"/>
                <a:gd name="connsiteY449" fmla="*/ 3200400 h 5397690"/>
                <a:gd name="connsiteX450" fmla="*/ 8120417 w 9758149"/>
                <a:gd name="connsiteY450" fmla="*/ 3302758 h 5397690"/>
                <a:gd name="connsiteX451" fmla="*/ 8120417 w 9758149"/>
                <a:gd name="connsiteY451" fmla="*/ 3398293 h 5397690"/>
                <a:gd name="connsiteX452" fmla="*/ 8113594 w 9758149"/>
                <a:gd name="connsiteY452" fmla="*/ 3452884 h 5397690"/>
                <a:gd name="connsiteX453" fmla="*/ 8079474 w 9758149"/>
                <a:gd name="connsiteY453" fmla="*/ 3521123 h 5397690"/>
                <a:gd name="connsiteX454" fmla="*/ 8065826 w 9758149"/>
                <a:gd name="connsiteY454" fmla="*/ 3616657 h 5397690"/>
                <a:gd name="connsiteX455" fmla="*/ 8065826 w 9758149"/>
                <a:gd name="connsiteY455" fmla="*/ 3664424 h 5397690"/>
                <a:gd name="connsiteX456" fmla="*/ 8011235 w 9758149"/>
                <a:gd name="connsiteY456" fmla="*/ 3732663 h 5397690"/>
                <a:gd name="connsiteX457" fmla="*/ 8018059 w 9758149"/>
                <a:gd name="connsiteY457" fmla="*/ 3773606 h 5397690"/>
                <a:gd name="connsiteX458" fmla="*/ 8059003 w 9758149"/>
                <a:gd name="connsiteY458" fmla="*/ 3780430 h 5397690"/>
                <a:gd name="connsiteX459" fmla="*/ 8086298 w 9758149"/>
                <a:gd name="connsiteY459" fmla="*/ 3732663 h 5397690"/>
                <a:gd name="connsiteX460" fmla="*/ 8127241 w 9758149"/>
                <a:gd name="connsiteY460" fmla="*/ 3705367 h 5397690"/>
                <a:gd name="connsiteX461" fmla="*/ 8161361 w 9758149"/>
                <a:gd name="connsiteY461" fmla="*/ 3746311 h 5397690"/>
                <a:gd name="connsiteX462" fmla="*/ 8195480 w 9758149"/>
                <a:gd name="connsiteY462" fmla="*/ 3732663 h 5397690"/>
                <a:gd name="connsiteX463" fmla="*/ 8188656 w 9758149"/>
                <a:gd name="connsiteY463" fmla="*/ 3684896 h 5397690"/>
                <a:gd name="connsiteX464" fmla="*/ 8161361 w 9758149"/>
                <a:gd name="connsiteY464" fmla="*/ 3664424 h 5397690"/>
                <a:gd name="connsiteX465" fmla="*/ 8120417 w 9758149"/>
                <a:gd name="connsiteY465" fmla="*/ 3671248 h 5397690"/>
                <a:gd name="connsiteX466" fmla="*/ 8113594 w 9758149"/>
                <a:gd name="connsiteY466" fmla="*/ 3637129 h 5397690"/>
                <a:gd name="connsiteX467" fmla="*/ 8147713 w 9758149"/>
                <a:gd name="connsiteY467" fmla="*/ 3603009 h 5397690"/>
                <a:gd name="connsiteX468" fmla="*/ 8202304 w 9758149"/>
                <a:gd name="connsiteY468" fmla="*/ 3603009 h 5397690"/>
                <a:gd name="connsiteX469" fmla="*/ 8236423 w 9758149"/>
                <a:gd name="connsiteY469" fmla="*/ 3637129 h 5397690"/>
                <a:gd name="connsiteX470" fmla="*/ 8215952 w 9758149"/>
                <a:gd name="connsiteY470" fmla="*/ 3650776 h 5397690"/>
                <a:gd name="connsiteX471" fmla="*/ 8236423 w 9758149"/>
                <a:gd name="connsiteY471" fmla="*/ 3698544 h 5397690"/>
                <a:gd name="connsiteX472" fmla="*/ 8277367 w 9758149"/>
                <a:gd name="connsiteY472" fmla="*/ 3732663 h 5397690"/>
                <a:gd name="connsiteX473" fmla="*/ 8297838 w 9758149"/>
                <a:gd name="connsiteY473" fmla="*/ 3678072 h 5397690"/>
                <a:gd name="connsiteX474" fmla="*/ 8297838 w 9758149"/>
                <a:gd name="connsiteY474" fmla="*/ 3637129 h 5397690"/>
                <a:gd name="connsiteX475" fmla="*/ 8297838 w 9758149"/>
                <a:gd name="connsiteY475" fmla="*/ 3637129 h 5397690"/>
                <a:gd name="connsiteX476" fmla="*/ 8372901 w 9758149"/>
                <a:gd name="connsiteY476" fmla="*/ 3616657 h 5397690"/>
                <a:gd name="connsiteX477" fmla="*/ 8461612 w 9758149"/>
                <a:gd name="connsiteY477" fmla="*/ 3630305 h 5397690"/>
                <a:gd name="connsiteX478" fmla="*/ 8516203 w 9758149"/>
                <a:gd name="connsiteY478" fmla="*/ 3630305 h 5397690"/>
                <a:gd name="connsiteX479" fmla="*/ 8557146 w 9758149"/>
                <a:gd name="connsiteY479" fmla="*/ 3664424 h 5397690"/>
                <a:gd name="connsiteX480" fmla="*/ 8584441 w 9758149"/>
                <a:gd name="connsiteY480" fmla="*/ 3719015 h 5397690"/>
                <a:gd name="connsiteX481" fmla="*/ 8625385 w 9758149"/>
                <a:gd name="connsiteY481" fmla="*/ 3787254 h 5397690"/>
                <a:gd name="connsiteX482" fmla="*/ 8659504 w 9758149"/>
                <a:gd name="connsiteY482" fmla="*/ 3835021 h 5397690"/>
                <a:gd name="connsiteX483" fmla="*/ 8673152 w 9758149"/>
                <a:gd name="connsiteY483" fmla="*/ 3916908 h 5397690"/>
                <a:gd name="connsiteX484" fmla="*/ 8693623 w 9758149"/>
                <a:gd name="connsiteY484" fmla="*/ 3998794 h 5397690"/>
                <a:gd name="connsiteX485" fmla="*/ 8755038 w 9758149"/>
                <a:gd name="connsiteY485" fmla="*/ 4046561 h 5397690"/>
                <a:gd name="connsiteX486" fmla="*/ 8789158 w 9758149"/>
                <a:gd name="connsiteY486" fmla="*/ 4128448 h 5397690"/>
                <a:gd name="connsiteX487" fmla="*/ 8830101 w 9758149"/>
                <a:gd name="connsiteY487" fmla="*/ 4196687 h 5397690"/>
                <a:gd name="connsiteX488" fmla="*/ 8843749 w 9758149"/>
                <a:gd name="connsiteY488" fmla="*/ 4271750 h 5397690"/>
                <a:gd name="connsiteX489" fmla="*/ 8850573 w 9758149"/>
                <a:gd name="connsiteY489" fmla="*/ 4346812 h 5397690"/>
                <a:gd name="connsiteX490" fmla="*/ 8816453 w 9758149"/>
                <a:gd name="connsiteY490" fmla="*/ 4435523 h 5397690"/>
                <a:gd name="connsiteX491" fmla="*/ 8830101 w 9758149"/>
                <a:gd name="connsiteY491" fmla="*/ 4524233 h 5397690"/>
                <a:gd name="connsiteX492" fmla="*/ 8850573 w 9758149"/>
                <a:gd name="connsiteY492" fmla="*/ 4578824 h 5397690"/>
                <a:gd name="connsiteX493" fmla="*/ 8843749 w 9758149"/>
                <a:gd name="connsiteY493" fmla="*/ 4681182 h 5397690"/>
                <a:gd name="connsiteX494" fmla="*/ 8836925 w 9758149"/>
                <a:gd name="connsiteY494" fmla="*/ 4776717 h 5397690"/>
                <a:gd name="connsiteX495" fmla="*/ 8809629 w 9758149"/>
                <a:gd name="connsiteY495" fmla="*/ 4858603 h 5397690"/>
                <a:gd name="connsiteX496" fmla="*/ 8816453 w 9758149"/>
                <a:gd name="connsiteY496" fmla="*/ 4906370 h 5397690"/>
                <a:gd name="connsiteX497" fmla="*/ 8782334 w 9758149"/>
                <a:gd name="connsiteY497" fmla="*/ 4967785 h 5397690"/>
                <a:gd name="connsiteX498" fmla="*/ 8795982 w 9758149"/>
                <a:gd name="connsiteY498" fmla="*/ 5036024 h 5397690"/>
                <a:gd name="connsiteX499" fmla="*/ 8782334 w 9758149"/>
                <a:gd name="connsiteY499" fmla="*/ 5104263 h 5397690"/>
                <a:gd name="connsiteX500" fmla="*/ 8748215 w 9758149"/>
                <a:gd name="connsiteY500" fmla="*/ 5145206 h 5397690"/>
                <a:gd name="connsiteX501" fmla="*/ 8741391 w 9758149"/>
                <a:gd name="connsiteY501" fmla="*/ 5192973 h 5397690"/>
                <a:gd name="connsiteX502" fmla="*/ 8700447 w 9758149"/>
                <a:gd name="connsiteY502" fmla="*/ 5240741 h 5397690"/>
                <a:gd name="connsiteX503" fmla="*/ 8659504 w 9758149"/>
                <a:gd name="connsiteY503" fmla="*/ 5261212 h 5397690"/>
                <a:gd name="connsiteX504" fmla="*/ 8652680 w 9758149"/>
                <a:gd name="connsiteY504" fmla="*/ 5302155 h 5397690"/>
                <a:gd name="connsiteX505" fmla="*/ 8591265 w 9758149"/>
                <a:gd name="connsiteY505" fmla="*/ 5308979 h 5397690"/>
                <a:gd name="connsiteX506" fmla="*/ 8543498 w 9758149"/>
                <a:gd name="connsiteY506" fmla="*/ 5288508 h 5397690"/>
                <a:gd name="connsiteX507" fmla="*/ 8523026 w 9758149"/>
                <a:gd name="connsiteY507" fmla="*/ 5288508 h 5397690"/>
                <a:gd name="connsiteX508" fmla="*/ 8509379 w 9758149"/>
                <a:gd name="connsiteY508" fmla="*/ 5315803 h 5397690"/>
                <a:gd name="connsiteX509" fmla="*/ 8509379 w 9758149"/>
                <a:gd name="connsiteY509" fmla="*/ 5377218 h 5397690"/>
                <a:gd name="connsiteX510" fmla="*/ 8509379 w 9758149"/>
                <a:gd name="connsiteY510" fmla="*/ 5397690 h 5397690"/>
                <a:gd name="connsiteX511" fmla="*/ 8468435 w 9758149"/>
                <a:gd name="connsiteY511" fmla="*/ 5397690 h 5397690"/>
                <a:gd name="connsiteX512" fmla="*/ 8400197 w 9758149"/>
                <a:gd name="connsiteY512" fmla="*/ 5356747 h 5397690"/>
                <a:gd name="connsiteX513" fmla="*/ 8400197 w 9758149"/>
                <a:gd name="connsiteY513" fmla="*/ 5329451 h 5397690"/>
                <a:gd name="connsiteX514" fmla="*/ 8441140 w 9758149"/>
                <a:gd name="connsiteY514" fmla="*/ 5281684 h 5397690"/>
                <a:gd name="connsiteX515" fmla="*/ 8407020 w 9758149"/>
                <a:gd name="connsiteY515" fmla="*/ 5240741 h 5397690"/>
                <a:gd name="connsiteX516" fmla="*/ 8393373 w 9758149"/>
                <a:gd name="connsiteY516" fmla="*/ 5172502 h 5397690"/>
                <a:gd name="connsiteX517" fmla="*/ 8379725 w 9758149"/>
                <a:gd name="connsiteY517" fmla="*/ 5152030 h 5397690"/>
                <a:gd name="connsiteX518" fmla="*/ 8331958 w 9758149"/>
                <a:gd name="connsiteY518" fmla="*/ 5117911 h 5397690"/>
                <a:gd name="connsiteX519" fmla="*/ 8338782 w 9758149"/>
                <a:gd name="connsiteY519" fmla="*/ 5056496 h 5397690"/>
                <a:gd name="connsiteX520" fmla="*/ 8359253 w 9758149"/>
                <a:gd name="connsiteY520" fmla="*/ 5015553 h 5397690"/>
                <a:gd name="connsiteX521" fmla="*/ 8413844 w 9758149"/>
                <a:gd name="connsiteY521" fmla="*/ 4995081 h 5397690"/>
                <a:gd name="connsiteX522" fmla="*/ 8413844 w 9758149"/>
                <a:gd name="connsiteY522" fmla="*/ 4995081 h 5397690"/>
                <a:gd name="connsiteX523" fmla="*/ 8475259 w 9758149"/>
                <a:gd name="connsiteY523" fmla="*/ 4933666 h 5397690"/>
                <a:gd name="connsiteX524" fmla="*/ 8468435 w 9758149"/>
                <a:gd name="connsiteY524" fmla="*/ 4865427 h 5397690"/>
                <a:gd name="connsiteX525" fmla="*/ 8475259 w 9758149"/>
                <a:gd name="connsiteY525" fmla="*/ 4817660 h 5397690"/>
                <a:gd name="connsiteX526" fmla="*/ 8441140 w 9758149"/>
                <a:gd name="connsiteY526" fmla="*/ 4776717 h 5397690"/>
                <a:gd name="connsiteX527" fmla="*/ 8454788 w 9758149"/>
                <a:gd name="connsiteY527" fmla="*/ 4742597 h 5397690"/>
                <a:gd name="connsiteX528" fmla="*/ 8434316 w 9758149"/>
                <a:gd name="connsiteY528" fmla="*/ 4701654 h 5397690"/>
                <a:gd name="connsiteX529" fmla="*/ 8447964 w 9758149"/>
                <a:gd name="connsiteY529" fmla="*/ 4653887 h 5397690"/>
                <a:gd name="connsiteX530" fmla="*/ 8427492 w 9758149"/>
                <a:gd name="connsiteY530" fmla="*/ 4619767 h 5397690"/>
                <a:gd name="connsiteX531" fmla="*/ 8441140 w 9758149"/>
                <a:gd name="connsiteY531" fmla="*/ 4592472 h 5397690"/>
                <a:gd name="connsiteX532" fmla="*/ 8400197 w 9758149"/>
                <a:gd name="connsiteY532" fmla="*/ 4578824 h 5397690"/>
                <a:gd name="connsiteX533" fmla="*/ 8407020 w 9758149"/>
                <a:gd name="connsiteY533" fmla="*/ 4537881 h 5397690"/>
                <a:gd name="connsiteX534" fmla="*/ 8359253 w 9758149"/>
                <a:gd name="connsiteY534" fmla="*/ 4551529 h 5397690"/>
                <a:gd name="connsiteX535" fmla="*/ 8352429 w 9758149"/>
                <a:gd name="connsiteY535" fmla="*/ 4592472 h 5397690"/>
                <a:gd name="connsiteX536" fmla="*/ 8325134 w 9758149"/>
                <a:gd name="connsiteY536" fmla="*/ 4606120 h 5397690"/>
                <a:gd name="connsiteX537" fmla="*/ 8311486 w 9758149"/>
                <a:gd name="connsiteY537" fmla="*/ 4640239 h 5397690"/>
                <a:gd name="connsiteX538" fmla="*/ 8270543 w 9758149"/>
                <a:gd name="connsiteY538" fmla="*/ 4640239 h 5397690"/>
                <a:gd name="connsiteX539" fmla="*/ 8256895 w 9758149"/>
                <a:gd name="connsiteY539" fmla="*/ 4681182 h 5397690"/>
                <a:gd name="connsiteX540" fmla="*/ 8229600 w 9758149"/>
                <a:gd name="connsiteY540" fmla="*/ 4722126 h 5397690"/>
                <a:gd name="connsiteX541" fmla="*/ 8175009 w 9758149"/>
                <a:gd name="connsiteY541" fmla="*/ 4756245 h 5397690"/>
                <a:gd name="connsiteX542" fmla="*/ 8079474 w 9758149"/>
                <a:gd name="connsiteY542" fmla="*/ 4763069 h 5397690"/>
                <a:gd name="connsiteX543" fmla="*/ 8072650 w 9758149"/>
                <a:gd name="connsiteY543" fmla="*/ 4708478 h 5397690"/>
                <a:gd name="connsiteX544" fmla="*/ 8031707 w 9758149"/>
                <a:gd name="connsiteY544" fmla="*/ 4688006 h 5397690"/>
                <a:gd name="connsiteX545" fmla="*/ 7983940 w 9758149"/>
                <a:gd name="connsiteY545" fmla="*/ 4667535 h 5397690"/>
                <a:gd name="connsiteX546" fmla="*/ 7963468 w 9758149"/>
                <a:gd name="connsiteY546" fmla="*/ 4640239 h 5397690"/>
                <a:gd name="connsiteX547" fmla="*/ 7908877 w 9758149"/>
                <a:gd name="connsiteY547" fmla="*/ 4640239 h 5397690"/>
                <a:gd name="connsiteX548" fmla="*/ 7854286 w 9758149"/>
                <a:gd name="connsiteY548" fmla="*/ 4660711 h 5397690"/>
                <a:gd name="connsiteX549" fmla="*/ 7786047 w 9758149"/>
                <a:gd name="connsiteY549" fmla="*/ 4667535 h 5397690"/>
                <a:gd name="connsiteX550" fmla="*/ 7745104 w 9758149"/>
                <a:gd name="connsiteY550" fmla="*/ 4626591 h 5397690"/>
                <a:gd name="connsiteX551" fmla="*/ 7683689 w 9758149"/>
                <a:gd name="connsiteY551" fmla="*/ 4612944 h 5397690"/>
                <a:gd name="connsiteX552" fmla="*/ 7676865 w 9758149"/>
                <a:gd name="connsiteY552" fmla="*/ 4578824 h 5397690"/>
                <a:gd name="connsiteX553" fmla="*/ 7629098 w 9758149"/>
                <a:gd name="connsiteY553" fmla="*/ 4537881 h 5397690"/>
                <a:gd name="connsiteX554" fmla="*/ 7629098 w 9758149"/>
                <a:gd name="connsiteY554" fmla="*/ 4496938 h 5397690"/>
                <a:gd name="connsiteX555" fmla="*/ 7581331 w 9758149"/>
                <a:gd name="connsiteY555" fmla="*/ 4469642 h 5397690"/>
                <a:gd name="connsiteX556" fmla="*/ 7560859 w 9758149"/>
                <a:gd name="connsiteY556" fmla="*/ 4421875 h 5397690"/>
                <a:gd name="connsiteX557" fmla="*/ 7526740 w 9758149"/>
                <a:gd name="connsiteY557" fmla="*/ 4408227 h 5397690"/>
                <a:gd name="connsiteX558" fmla="*/ 7492620 w 9758149"/>
                <a:gd name="connsiteY558" fmla="*/ 4353636 h 5397690"/>
                <a:gd name="connsiteX559" fmla="*/ 7438029 w 9758149"/>
                <a:gd name="connsiteY559" fmla="*/ 4305869 h 5397690"/>
                <a:gd name="connsiteX560" fmla="*/ 7383438 w 9758149"/>
                <a:gd name="connsiteY560" fmla="*/ 4319517 h 5397690"/>
                <a:gd name="connsiteX561" fmla="*/ 7335671 w 9758149"/>
                <a:gd name="connsiteY561" fmla="*/ 4292221 h 5397690"/>
                <a:gd name="connsiteX562" fmla="*/ 7287904 w 9758149"/>
                <a:gd name="connsiteY562" fmla="*/ 4292221 h 5397690"/>
                <a:gd name="connsiteX563" fmla="*/ 7260609 w 9758149"/>
                <a:gd name="connsiteY563" fmla="*/ 4326341 h 5397690"/>
                <a:gd name="connsiteX564" fmla="*/ 7219665 w 9758149"/>
                <a:gd name="connsiteY564" fmla="*/ 4319517 h 5397690"/>
                <a:gd name="connsiteX565" fmla="*/ 7185546 w 9758149"/>
                <a:gd name="connsiteY565" fmla="*/ 4346812 h 5397690"/>
                <a:gd name="connsiteX566" fmla="*/ 7110483 w 9758149"/>
                <a:gd name="connsiteY566" fmla="*/ 4367284 h 5397690"/>
                <a:gd name="connsiteX567" fmla="*/ 7096835 w 9758149"/>
                <a:gd name="connsiteY567" fmla="*/ 4415051 h 5397690"/>
                <a:gd name="connsiteX568" fmla="*/ 7062716 w 9758149"/>
                <a:gd name="connsiteY568" fmla="*/ 4415051 h 5397690"/>
                <a:gd name="connsiteX569" fmla="*/ 7035420 w 9758149"/>
                <a:gd name="connsiteY569" fmla="*/ 4469642 h 5397690"/>
                <a:gd name="connsiteX570" fmla="*/ 7083188 w 9758149"/>
                <a:gd name="connsiteY570" fmla="*/ 4503761 h 5397690"/>
                <a:gd name="connsiteX571" fmla="*/ 7083188 w 9758149"/>
                <a:gd name="connsiteY571" fmla="*/ 4558353 h 5397690"/>
                <a:gd name="connsiteX572" fmla="*/ 7062716 w 9758149"/>
                <a:gd name="connsiteY572" fmla="*/ 4619767 h 5397690"/>
                <a:gd name="connsiteX573" fmla="*/ 7042244 w 9758149"/>
                <a:gd name="connsiteY573" fmla="*/ 4694830 h 5397690"/>
                <a:gd name="connsiteX574" fmla="*/ 7035420 w 9758149"/>
                <a:gd name="connsiteY574" fmla="*/ 4769893 h 5397690"/>
                <a:gd name="connsiteX575" fmla="*/ 7049068 w 9758149"/>
                <a:gd name="connsiteY575" fmla="*/ 4838132 h 5397690"/>
                <a:gd name="connsiteX576" fmla="*/ 7055892 w 9758149"/>
                <a:gd name="connsiteY576" fmla="*/ 4879075 h 5397690"/>
                <a:gd name="connsiteX577" fmla="*/ 7008125 w 9758149"/>
                <a:gd name="connsiteY577" fmla="*/ 4913194 h 5397690"/>
                <a:gd name="connsiteX578" fmla="*/ 6967182 w 9758149"/>
                <a:gd name="connsiteY578" fmla="*/ 4960961 h 5397690"/>
                <a:gd name="connsiteX579" fmla="*/ 6967182 w 9758149"/>
                <a:gd name="connsiteY579" fmla="*/ 4960961 h 5397690"/>
                <a:gd name="connsiteX580" fmla="*/ 6892119 w 9758149"/>
                <a:gd name="connsiteY580" fmla="*/ 4974609 h 5397690"/>
                <a:gd name="connsiteX581" fmla="*/ 6844352 w 9758149"/>
                <a:gd name="connsiteY581" fmla="*/ 4940490 h 5397690"/>
                <a:gd name="connsiteX582" fmla="*/ 6803409 w 9758149"/>
                <a:gd name="connsiteY582" fmla="*/ 4940490 h 5397690"/>
                <a:gd name="connsiteX583" fmla="*/ 6762465 w 9758149"/>
                <a:gd name="connsiteY583" fmla="*/ 4967785 h 5397690"/>
                <a:gd name="connsiteX584" fmla="*/ 6714698 w 9758149"/>
                <a:gd name="connsiteY584" fmla="*/ 4960961 h 5397690"/>
                <a:gd name="connsiteX585" fmla="*/ 6673755 w 9758149"/>
                <a:gd name="connsiteY585" fmla="*/ 4940490 h 5397690"/>
                <a:gd name="connsiteX586" fmla="*/ 6632812 w 9758149"/>
                <a:gd name="connsiteY586" fmla="*/ 4947314 h 5397690"/>
                <a:gd name="connsiteX587" fmla="*/ 6591868 w 9758149"/>
                <a:gd name="connsiteY587" fmla="*/ 4974609 h 5397690"/>
                <a:gd name="connsiteX588" fmla="*/ 6591868 w 9758149"/>
                <a:gd name="connsiteY588" fmla="*/ 4974609 h 5397690"/>
                <a:gd name="connsiteX589" fmla="*/ 6537277 w 9758149"/>
                <a:gd name="connsiteY589" fmla="*/ 5022376 h 5397690"/>
                <a:gd name="connsiteX590" fmla="*/ 6448567 w 9758149"/>
                <a:gd name="connsiteY590" fmla="*/ 5083791 h 5397690"/>
                <a:gd name="connsiteX591" fmla="*/ 6387152 w 9758149"/>
                <a:gd name="connsiteY591" fmla="*/ 5083791 h 5397690"/>
                <a:gd name="connsiteX592" fmla="*/ 6332561 w 9758149"/>
                <a:gd name="connsiteY592" fmla="*/ 5131558 h 5397690"/>
                <a:gd name="connsiteX593" fmla="*/ 6243850 w 9758149"/>
                <a:gd name="connsiteY593" fmla="*/ 5138382 h 5397690"/>
                <a:gd name="connsiteX594" fmla="*/ 6189259 w 9758149"/>
                <a:gd name="connsiteY594" fmla="*/ 5117911 h 5397690"/>
                <a:gd name="connsiteX595" fmla="*/ 6114197 w 9758149"/>
                <a:gd name="connsiteY595" fmla="*/ 5145206 h 5397690"/>
                <a:gd name="connsiteX596" fmla="*/ 6073253 w 9758149"/>
                <a:gd name="connsiteY596" fmla="*/ 5111087 h 5397690"/>
                <a:gd name="connsiteX597" fmla="*/ 6073253 w 9758149"/>
                <a:gd name="connsiteY597" fmla="*/ 5111087 h 5397690"/>
                <a:gd name="connsiteX598" fmla="*/ 5964071 w 9758149"/>
                <a:gd name="connsiteY598" fmla="*/ 5111087 h 5397690"/>
                <a:gd name="connsiteX599" fmla="*/ 5964071 w 9758149"/>
                <a:gd name="connsiteY599" fmla="*/ 5063320 h 5397690"/>
                <a:gd name="connsiteX600" fmla="*/ 5909480 w 9758149"/>
                <a:gd name="connsiteY600" fmla="*/ 5036024 h 5397690"/>
                <a:gd name="connsiteX601" fmla="*/ 5848065 w 9758149"/>
                <a:gd name="connsiteY601" fmla="*/ 5042848 h 5397690"/>
                <a:gd name="connsiteX602" fmla="*/ 5786650 w 9758149"/>
                <a:gd name="connsiteY602" fmla="*/ 5076967 h 5397690"/>
                <a:gd name="connsiteX603" fmla="*/ 5738883 w 9758149"/>
                <a:gd name="connsiteY603" fmla="*/ 5049672 h 5397690"/>
                <a:gd name="connsiteX604" fmla="*/ 5663820 w 9758149"/>
                <a:gd name="connsiteY604" fmla="*/ 5070144 h 5397690"/>
                <a:gd name="connsiteX605" fmla="*/ 5616053 w 9758149"/>
                <a:gd name="connsiteY605" fmla="*/ 5056496 h 5397690"/>
                <a:gd name="connsiteX606" fmla="*/ 5568286 w 9758149"/>
                <a:gd name="connsiteY606" fmla="*/ 5008729 h 5397690"/>
                <a:gd name="connsiteX607" fmla="*/ 5527343 w 9758149"/>
                <a:gd name="connsiteY607" fmla="*/ 4954138 h 5397690"/>
                <a:gd name="connsiteX608" fmla="*/ 5540991 w 9758149"/>
                <a:gd name="connsiteY608" fmla="*/ 4913194 h 5397690"/>
                <a:gd name="connsiteX609" fmla="*/ 5479576 w 9758149"/>
                <a:gd name="connsiteY609" fmla="*/ 4879075 h 5397690"/>
                <a:gd name="connsiteX610" fmla="*/ 5397689 w 9758149"/>
                <a:gd name="connsiteY610" fmla="*/ 4892723 h 5397690"/>
                <a:gd name="connsiteX611" fmla="*/ 5377217 w 9758149"/>
                <a:gd name="connsiteY611" fmla="*/ 4858603 h 5397690"/>
                <a:gd name="connsiteX612" fmla="*/ 5322626 w 9758149"/>
                <a:gd name="connsiteY612" fmla="*/ 4851779 h 5397690"/>
                <a:gd name="connsiteX613" fmla="*/ 5274859 w 9758149"/>
                <a:gd name="connsiteY613" fmla="*/ 4824484 h 5397690"/>
                <a:gd name="connsiteX614" fmla="*/ 5220268 w 9758149"/>
                <a:gd name="connsiteY614" fmla="*/ 4851779 h 5397690"/>
                <a:gd name="connsiteX615" fmla="*/ 5179325 w 9758149"/>
                <a:gd name="connsiteY615" fmla="*/ 4913194 h 5397690"/>
                <a:gd name="connsiteX616" fmla="*/ 5192973 w 9758149"/>
                <a:gd name="connsiteY616" fmla="*/ 4967785 h 5397690"/>
                <a:gd name="connsiteX617" fmla="*/ 5227092 w 9758149"/>
                <a:gd name="connsiteY617" fmla="*/ 5008729 h 5397690"/>
                <a:gd name="connsiteX618" fmla="*/ 5213444 w 9758149"/>
                <a:gd name="connsiteY618" fmla="*/ 5042848 h 5397690"/>
                <a:gd name="connsiteX619" fmla="*/ 5199797 w 9758149"/>
                <a:gd name="connsiteY619" fmla="*/ 5076967 h 5397690"/>
                <a:gd name="connsiteX620" fmla="*/ 5172501 w 9758149"/>
                <a:gd name="connsiteY620" fmla="*/ 5104263 h 5397690"/>
                <a:gd name="connsiteX621" fmla="*/ 5117910 w 9758149"/>
                <a:gd name="connsiteY621" fmla="*/ 5145206 h 5397690"/>
                <a:gd name="connsiteX622" fmla="*/ 5070143 w 9758149"/>
                <a:gd name="connsiteY622" fmla="*/ 5117911 h 5397690"/>
                <a:gd name="connsiteX623" fmla="*/ 5022376 w 9758149"/>
                <a:gd name="connsiteY623" fmla="*/ 5131558 h 5397690"/>
                <a:gd name="connsiteX624" fmla="*/ 4988256 w 9758149"/>
                <a:gd name="connsiteY624" fmla="*/ 5097439 h 5397690"/>
                <a:gd name="connsiteX625" fmla="*/ 4954137 w 9758149"/>
                <a:gd name="connsiteY625" fmla="*/ 5097439 h 5397690"/>
                <a:gd name="connsiteX626" fmla="*/ 4899546 w 9758149"/>
                <a:gd name="connsiteY626" fmla="*/ 5104263 h 5397690"/>
                <a:gd name="connsiteX627" fmla="*/ 4879074 w 9758149"/>
                <a:gd name="connsiteY627" fmla="*/ 5042848 h 5397690"/>
                <a:gd name="connsiteX628" fmla="*/ 4885898 w 9758149"/>
                <a:gd name="connsiteY628" fmla="*/ 5015553 h 5397690"/>
                <a:gd name="connsiteX629" fmla="*/ 4851779 w 9758149"/>
                <a:gd name="connsiteY629" fmla="*/ 4995081 h 5397690"/>
                <a:gd name="connsiteX630" fmla="*/ 4817659 w 9758149"/>
                <a:gd name="connsiteY630" fmla="*/ 4995081 h 5397690"/>
                <a:gd name="connsiteX631" fmla="*/ 4769892 w 9758149"/>
                <a:gd name="connsiteY631" fmla="*/ 5015553 h 5397690"/>
                <a:gd name="connsiteX632" fmla="*/ 4742597 w 9758149"/>
                <a:gd name="connsiteY632" fmla="*/ 5015553 h 5397690"/>
                <a:gd name="connsiteX633" fmla="*/ 4722125 w 9758149"/>
                <a:gd name="connsiteY633" fmla="*/ 4974609 h 5397690"/>
                <a:gd name="connsiteX634" fmla="*/ 4674358 w 9758149"/>
                <a:gd name="connsiteY634" fmla="*/ 4988257 h 5397690"/>
                <a:gd name="connsiteX635" fmla="*/ 4592471 w 9758149"/>
                <a:gd name="connsiteY635" fmla="*/ 5015553 h 5397690"/>
                <a:gd name="connsiteX636" fmla="*/ 4551528 w 9758149"/>
                <a:gd name="connsiteY636" fmla="*/ 5049672 h 5397690"/>
                <a:gd name="connsiteX637" fmla="*/ 4462817 w 9758149"/>
                <a:gd name="connsiteY637" fmla="*/ 5042848 h 5397690"/>
                <a:gd name="connsiteX638" fmla="*/ 4435522 w 9758149"/>
                <a:gd name="connsiteY638" fmla="*/ 5083791 h 5397690"/>
                <a:gd name="connsiteX639" fmla="*/ 4380931 w 9758149"/>
                <a:gd name="connsiteY639" fmla="*/ 5104263 h 5397690"/>
                <a:gd name="connsiteX640" fmla="*/ 4285397 w 9758149"/>
                <a:gd name="connsiteY640" fmla="*/ 5131558 h 5397690"/>
                <a:gd name="connsiteX641" fmla="*/ 4244453 w 9758149"/>
                <a:gd name="connsiteY641" fmla="*/ 5111087 h 5397690"/>
                <a:gd name="connsiteX642" fmla="*/ 4230806 w 9758149"/>
                <a:gd name="connsiteY642" fmla="*/ 5070144 h 5397690"/>
                <a:gd name="connsiteX643" fmla="*/ 4203510 w 9758149"/>
                <a:gd name="connsiteY643" fmla="*/ 5049672 h 5397690"/>
                <a:gd name="connsiteX644" fmla="*/ 4121623 w 9758149"/>
                <a:gd name="connsiteY644" fmla="*/ 5042848 h 5397690"/>
                <a:gd name="connsiteX645" fmla="*/ 4060209 w 9758149"/>
                <a:gd name="connsiteY645" fmla="*/ 5029200 h 5397690"/>
                <a:gd name="connsiteX646" fmla="*/ 4060209 w 9758149"/>
                <a:gd name="connsiteY646" fmla="*/ 4995081 h 5397690"/>
                <a:gd name="connsiteX647" fmla="*/ 4039737 w 9758149"/>
                <a:gd name="connsiteY647" fmla="*/ 4954138 h 5397690"/>
                <a:gd name="connsiteX648" fmla="*/ 4039737 w 9758149"/>
                <a:gd name="connsiteY648" fmla="*/ 4913194 h 5397690"/>
                <a:gd name="connsiteX649" fmla="*/ 3991970 w 9758149"/>
                <a:gd name="connsiteY649" fmla="*/ 4913194 h 5397690"/>
                <a:gd name="connsiteX650" fmla="*/ 3985146 w 9758149"/>
                <a:gd name="connsiteY650" fmla="*/ 4858603 h 5397690"/>
                <a:gd name="connsiteX651" fmla="*/ 3978322 w 9758149"/>
                <a:gd name="connsiteY651" fmla="*/ 4810836 h 5397690"/>
                <a:gd name="connsiteX652" fmla="*/ 3930555 w 9758149"/>
                <a:gd name="connsiteY652" fmla="*/ 4810836 h 5397690"/>
                <a:gd name="connsiteX653" fmla="*/ 3896435 w 9758149"/>
                <a:gd name="connsiteY653" fmla="*/ 4817660 h 5397690"/>
                <a:gd name="connsiteX654" fmla="*/ 3835020 w 9758149"/>
                <a:gd name="connsiteY654" fmla="*/ 4804012 h 5397690"/>
                <a:gd name="connsiteX655" fmla="*/ 3800901 w 9758149"/>
                <a:gd name="connsiteY655" fmla="*/ 4769893 h 5397690"/>
                <a:gd name="connsiteX656" fmla="*/ 3773606 w 9758149"/>
                <a:gd name="connsiteY656" fmla="*/ 4708478 h 5397690"/>
                <a:gd name="connsiteX657" fmla="*/ 3753134 w 9758149"/>
                <a:gd name="connsiteY657" fmla="*/ 4681182 h 5397690"/>
                <a:gd name="connsiteX658" fmla="*/ 3712191 w 9758149"/>
                <a:gd name="connsiteY658" fmla="*/ 4688006 h 5397690"/>
                <a:gd name="connsiteX659" fmla="*/ 3705367 w 9758149"/>
                <a:gd name="connsiteY659" fmla="*/ 4722126 h 5397690"/>
                <a:gd name="connsiteX660" fmla="*/ 3705367 w 9758149"/>
                <a:gd name="connsiteY660" fmla="*/ 4728950 h 5397690"/>
                <a:gd name="connsiteX661" fmla="*/ 3671247 w 9758149"/>
                <a:gd name="connsiteY661" fmla="*/ 4728950 h 5397690"/>
                <a:gd name="connsiteX662" fmla="*/ 3657600 w 9758149"/>
                <a:gd name="connsiteY662" fmla="*/ 4749421 h 5397690"/>
                <a:gd name="connsiteX663" fmla="*/ 3643952 w 9758149"/>
                <a:gd name="connsiteY663" fmla="*/ 4715302 h 5397690"/>
                <a:gd name="connsiteX664" fmla="*/ 3637128 w 9758149"/>
                <a:gd name="connsiteY664" fmla="*/ 4647063 h 5397690"/>
                <a:gd name="connsiteX665" fmla="*/ 3657600 w 9758149"/>
                <a:gd name="connsiteY665" fmla="*/ 4633415 h 5397690"/>
                <a:gd name="connsiteX666" fmla="*/ 3657600 w 9758149"/>
                <a:gd name="connsiteY666" fmla="*/ 4572000 h 5397690"/>
                <a:gd name="connsiteX667" fmla="*/ 3630304 w 9758149"/>
                <a:gd name="connsiteY667" fmla="*/ 4524233 h 5397690"/>
                <a:gd name="connsiteX668" fmla="*/ 3603009 w 9758149"/>
                <a:gd name="connsiteY668" fmla="*/ 4415051 h 5397690"/>
                <a:gd name="connsiteX669" fmla="*/ 3575713 w 9758149"/>
                <a:gd name="connsiteY669" fmla="*/ 4339988 h 5397690"/>
                <a:gd name="connsiteX670" fmla="*/ 3521122 w 9758149"/>
                <a:gd name="connsiteY670" fmla="*/ 4292221 h 5397690"/>
                <a:gd name="connsiteX671" fmla="*/ 3527946 w 9758149"/>
                <a:gd name="connsiteY671" fmla="*/ 4230806 h 5397690"/>
                <a:gd name="connsiteX672" fmla="*/ 3507474 w 9758149"/>
                <a:gd name="connsiteY672" fmla="*/ 4189863 h 5397690"/>
                <a:gd name="connsiteX673" fmla="*/ 3452883 w 9758149"/>
                <a:gd name="connsiteY673" fmla="*/ 4217158 h 5397690"/>
                <a:gd name="connsiteX674" fmla="*/ 3418764 w 9758149"/>
                <a:gd name="connsiteY674" fmla="*/ 4203511 h 5397690"/>
                <a:gd name="connsiteX675" fmla="*/ 3398292 w 9758149"/>
                <a:gd name="connsiteY675" fmla="*/ 4203511 h 5397690"/>
                <a:gd name="connsiteX676" fmla="*/ 3364173 w 9758149"/>
                <a:gd name="connsiteY676" fmla="*/ 4237630 h 5397690"/>
                <a:gd name="connsiteX677" fmla="*/ 3343701 w 9758149"/>
                <a:gd name="connsiteY677" fmla="*/ 4217158 h 5397690"/>
                <a:gd name="connsiteX678" fmla="*/ 3302758 w 9758149"/>
                <a:gd name="connsiteY678" fmla="*/ 4210335 h 5397690"/>
                <a:gd name="connsiteX679" fmla="*/ 3302758 w 9758149"/>
                <a:gd name="connsiteY679" fmla="*/ 4210335 h 5397690"/>
                <a:gd name="connsiteX680" fmla="*/ 3302758 w 9758149"/>
                <a:gd name="connsiteY680" fmla="*/ 4210335 h 5397690"/>
                <a:gd name="connsiteX681" fmla="*/ 3248167 w 9758149"/>
                <a:gd name="connsiteY681" fmla="*/ 4148920 h 5397690"/>
                <a:gd name="connsiteX682" fmla="*/ 3173104 w 9758149"/>
                <a:gd name="connsiteY682" fmla="*/ 4114800 h 5397690"/>
                <a:gd name="connsiteX683" fmla="*/ 3173104 w 9758149"/>
                <a:gd name="connsiteY683" fmla="*/ 4114800 h 5397690"/>
                <a:gd name="connsiteX684" fmla="*/ 3152632 w 9758149"/>
                <a:gd name="connsiteY684" fmla="*/ 4060209 h 5397690"/>
                <a:gd name="connsiteX685" fmla="*/ 3152632 w 9758149"/>
                <a:gd name="connsiteY685" fmla="*/ 4060209 h 5397690"/>
                <a:gd name="connsiteX686" fmla="*/ 3159456 w 9758149"/>
                <a:gd name="connsiteY686" fmla="*/ 3991970 h 5397690"/>
                <a:gd name="connsiteX687" fmla="*/ 3145809 w 9758149"/>
                <a:gd name="connsiteY687" fmla="*/ 3944203 h 5397690"/>
                <a:gd name="connsiteX688" fmla="*/ 3179928 w 9758149"/>
                <a:gd name="connsiteY688" fmla="*/ 3930555 h 5397690"/>
                <a:gd name="connsiteX689" fmla="*/ 3173104 w 9758149"/>
                <a:gd name="connsiteY689" fmla="*/ 3903260 h 5397690"/>
                <a:gd name="connsiteX690" fmla="*/ 3132161 w 9758149"/>
                <a:gd name="connsiteY690" fmla="*/ 3896436 h 5397690"/>
                <a:gd name="connsiteX691" fmla="*/ 3098041 w 9758149"/>
                <a:gd name="connsiteY691" fmla="*/ 3896436 h 5397690"/>
                <a:gd name="connsiteX692" fmla="*/ 3091217 w 9758149"/>
                <a:gd name="connsiteY692" fmla="*/ 3855493 h 5397690"/>
                <a:gd name="connsiteX693" fmla="*/ 3057098 w 9758149"/>
                <a:gd name="connsiteY693" fmla="*/ 3841845 h 5397690"/>
                <a:gd name="connsiteX694" fmla="*/ 3029803 w 9758149"/>
                <a:gd name="connsiteY694" fmla="*/ 3835021 h 5397690"/>
                <a:gd name="connsiteX695" fmla="*/ 2975212 w 9758149"/>
                <a:gd name="connsiteY695" fmla="*/ 3848669 h 5397690"/>
                <a:gd name="connsiteX696" fmla="*/ 2893325 w 9758149"/>
                <a:gd name="connsiteY696" fmla="*/ 3841845 h 5397690"/>
                <a:gd name="connsiteX697" fmla="*/ 2859206 w 9758149"/>
                <a:gd name="connsiteY697" fmla="*/ 3807726 h 5397690"/>
                <a:gd name="connsiteX698" fmla="*/ 2859206 w 9758149"/>
                <a:gd name="connsiteY698" fmla="*/ 3807726 h 5397690"/>
                <a:gd name="connsiteX699" fmla="*/ 2797791 w 9758149"/>
                <a:gd name="connsiteY699" fmla="*/ 3821373 h 5397690"/>
                <a:gd name="connsiteX700" fmla="*/ 2763671 w 9758149"/>
                <a:gd name="connsiteY700" fmla="*/ 3821373 h 5397690"/>
                <a:gd name="connsiteX701" fmla="*/ 2736376 w 9758149"/>
                <a:gd name="connsiteY701" fmla="*/ 3787254 h 5397690"/>
                <a:gd name="connsiteX702" fmla="*/ 2647665 w 9758149"/>
                <a:gd name="connsiteY702" fmla="*/ 3773606 h 5397690"/>
                <a:gd name="connsiteX703" fmla="*/ 2572603 w 9758149"/>
                <a:gd name="connsiteY703" fmla="*/ 3732663 h 5397690"/>
                <a:gd name="connsiteX704" fmla="*/ 2518012 w 9758149"/>
                <a:gd name="connsiteY704" fmla="*/ 3739487 h 5397690"/>
                <a:gd name="connsiteX705" fmla="*/ 2477068 w 9758149"/>
                <a:gd name="connsiteY705" fmla="*/ 3712191 h 5397690"/>
                <a:gd name="connsiteX706" fmla="*/ 2436125 w 9758149"/>
                <a:gd name="connsiteY706" fmla="*/ 3671248 h 5397690"/>
                <a:gd name="connsiteX707" fmla="*/ 2408829 w 9758149"/>
                <a:gd name="connsiteY707" fmla="*/ 3684896 h 5397690"/>
                <a:gd name="connsiteX708" fmla="*/ 2436125 w 9758149"/>
                <a:gd name="connsiteY708" fmla="*/ 3739487 h 5397690"/>
                <a:gd name="connsiteX709" fmla="*/ 2402006 w 9758149"/>
                <a:gd name="connsiteY709" fmla="*/ 3753135 h 5397690"/>
                <a:gd name="connsiteX710" fmla="*/ 2402006 w 9758149"/>
                <a:gd name="connsiteY710" fmla="*/ 3753135 h 5397690"/>
                <a:gd name="connsiteX711" fmla="*/ 2436125 w 9758149"/>
                <a:gd name="connsiteY711" fmla="*/ 3821373 h 5397690"/>
                <a:gd name="connsiteX712" fmla="*/ 2374710 w 9758149"/>
                <a:gd name="connsiteY712" fmla="*/ 3855493 h 5397690"/>
                <a:gd name="connsiteX713" fmla="*/ 2374710 w 9758149"/>
                <a:gd name="connsiteY713" fmla="*/ 3855493 h 5397690"/>
                <a:gd name="connsiteX714" fmla="*/ 2333767 w 9758149"/>
                <a:gd name="connsiteY714" fmla="*/ 3814550 h 5397690"/>
                <a:gd name="connsiteX715" fmla="*/ 2292823 w 9758149"/>
                <a:gd name="connsiteY715" fmla="*/ 3855493 h 5397690"/>
                <a:gd name="connsiteX716" fmla="*/ 2292823 w 9758149"/>
                <a:gd name="connsiteY716" fmla="*/ 3855493 h 5397690"/>
                <a:gd name="connsiteX717" fmla="*/ 2231409 w 9758149"/>
                <a:gd name="connsiteY717" fmla="*/ 3882788 h 5397690"/>
                <a:gd name="connsiteX718" fmla="*/ 2231409 w 9758149"/>
                <a:gd name="connsiteY718" fmla="*/ 3882788 h 5397690"/>
                <a:gd name="connsiteX719" fmla="*/ 2238232 w 9758149"/>
                <a:gd name="connsiteY719" fmla="*/ 3971499 h 5397690"/>
                <a:gd name="connsiteX720" fmla="*/ 2272352 w 9758149"/>
                <a:gd name="connsiteY720" fmla="*/ 4019266 h 5397690"/>
                <a:gd name="connsiteX721" fmla="*/ 2204113 w 9758149"/>
                <a:gd name="connsiteY721" fmla="*/ 4046561 h 5397690"/>
                <a:gd name="connsiteX722" fmla="*/ 2204113 w 9758149"/>
                <a:gd name="connsiteY722" fmla="*/ 4046561 h 5397690"/>
                <a:gd name="connsiteX723" fmla="*/ 2135874 w 9758149"/>
                <a:gd name="connsiteY723" fmla="*/ 4005618 h 5397690"/>
                <a:gd name="connsiteX724" fmla="*/ 2067635 w 9758149"/>
                <a:gd name="connsiteY724" fmla="*/ 3998794 h 5397690"/>
                <a:gd name="connsiteX725" fmla="*/ 2013044 w 9758149"/>
                <a:gd name="connsiteY725" fmla="*/ 3964675 h 5397690"/>
                <a:gd name="connsiteX726" fmla="*/ 1972101 w 9758149"/>
                <a:gd name="connsiteY726" fmla="*/ 3910084 h 5397690"/>
                <a:gd name="connsiteX727" fmla="*/ 1985749 w 9758149"/>
                <a:gd name="connsiteY727" fmla="*/ 3882788 h 5397690"/>
                <a:gd name="connsiteX728" fmla="*/ 1965277 w 9758149"/>
                <a:gd name="connsiteY728" fmla="*/ 3862317 h 5397690"/>
                <a:gd name="connsiteX729" fmla="*/ 1931158 w 9758149"/>
                <a:gd name="connsiteY729" fmla="*/ 3869141 h 5397690"/>
                <a:gd name="connsiteX730" fmla="*/ 1897038 w 9758149"/>
                <a:gd name="connsiteY730" fmla="*/ 3821373 h 5397690"/>
                <a:gd name="connsiteX731" fmla="*/ 1862919 w 9758149"/>
                <a:gd name="connsiteY731" fmla="*/ 3800902 h 5397690"/>
                <a:gd name="connsiteX732" fmla="*/ 1862919 w 9758149"/>
                <a:gd name="connsiteY732" fmla="*/ 3800902 h 5397690"/>
                <a:gd name="connsiteX733" fmla="*/ 1767385 w 9758149"/>
                <a:gd name="connsiteY733" fmla="*/ 3794078 h 5397690"/>
                <a:gd name="connsiteX734" fmla="*/ 1767385 w 9758149"/>
                <a:gd name="connsiteY734" fmla="*/ 3759958 h 5397690"/>
                <a:gd name="connsiteX735" fmla="*/ 1767385 w 9758149"/>
                <a:gd name="connsiteY735" fmla="*/ 3759958 h 5397690"/>
                <a:gd name="connsiteX736" fmla="*/ 1726441 w 9758149"/>
                <a:gd name="connsiteY736" fmla="*/ 3712191 h 5397690"/>
                <a:gd name="connsiteX737" fmla="*/ 1712794 w 9758149"/>
                <a:gd name="connsiteY737" fmla="*/ 3739487 h 5397690"/>
                <a:gd name="connsiteX738" fmla="*/ 1712794 w 9758149"/>
                <a:gd name="connsiteY738" fmla="*/ 3739487 h 5397690"/>
                <a:gd name="connsiteX739" fmla="*/ 1678674 w 9758149"/>
                <a:gd name="connsiteY739" fmla="*/ 3678072 h 5397690"/>
                <a:gd name="connsiteX740" fmla="*/ 1699146 w 9758149"/>
                <a:gd name="connsiteY740" fmla="*/ 3643953 h 5397690"/>
                <a:gd name="connsiteX741" fmla="*/ 1705970 w 9758149"/>
                <a:gd name="connsiteY741" fmla="*/ 3589361 h 5397690"/>
                <a:gd name="connsiteX742" fmla="*/ 1665026 w 9758149"/>
                <a:gd name="connsiteY742" fmla="*/ 3548418 h 5397690"/>
                <a:gd name="connsiteX743" fmla="*/ 1665026 w 9758149"/>
                <a:gd name="connsiteY743" fmla="*/ 3548418 h 5397690"/>
                <a:gd name="connsiteX744" fmla="*/ 1637731 w 9758149"/>
                <a:gd name="connsiteY744" fmla="*/ 3493827 h 5397690"/>
                <a:gd name="connsiteX745" fmla="*/ 1603612 w 9758149"/>
                <a:gd name="connsiteY745" fmla="*/ 3473355 h 5397690"/>
                <a:gd name="connsiteX746" fmla="*/ 1596788 w 9758149"/>
                <a:gd name="connsiteY746" fmla="*/ 3487003 h 5397690"/>
                <a:gd name="connsiteX747" fmla="*/ 1562668 w 9758149"/>
                <a:gd name="connsiteY747" fmla="*/ 3480179 h 5397690"/>
                <a:gd name="connsiteX748" fmla="*/ 1569492 w 9758149"/>
                <a:gd name="connsiteY748" fmla="*/ 3432412 h 5397690"/>
                <a:gd name="connsiteX749" fmla="*/ 1542197 w 9758149"/>
                <a:gd name="connsiteY749" fmla="*/ 3411941 h 5397690"/>
                <a:gd name="connsiteX750" fmla="*/ 1460310 w 9758149"/>
                <a:gd name="connsiteY750" fmla="*/ 3405117 h 5397690"/>
                <a:gd name="connsiteX751" fmla="*/ 1419367 w 9758149"/>
                <a:gd name="connsiteY751" fmla="*/ 3405117 h 5397690"/>
                <a:gd name="connsiteX752" fmla="*/ 1364776 w 9758149"/>
                <a:gd name="connsiteY752" fmla="*/ 3405117 h 5397690"/>
                <a:gd name="connsiteX753" fmla="*/ 1351128 w 9758149"/>
                <a:gd name="connsiteY753" fmla="*/ 3432412 h 5397690"/>
                <a:gd name="connsiteX754" fmla="*/ 1323832 w 9758149"/>
                <a:gd name="connsiteY754" fmla="*/ 3418764 h 5397690"/>
                <a:gd name="connsiteX755" fmla="*/ 1303361 w 9758149"/>
                <a:gd name="connsiteY755" fmla="*/ 3446060 h 5397690"/>
                <a:gd name="connsiteX756" fmla="*/ 1262417 w 9758149"/>
                <a:gd name="connsiteY756" fmla="*/ 3459708 h 5397690"/>
                <a:gd name="connsiteX757" fmla="*/ 1262417 w 9758149"/>
                <a:gd name="connsiteY757" fmla="*/ 3459708 h 5397690"/>
                <a:gd name="connsiteX758" fmla="*/ 1221474 w 9758149"/>
                <a:gd name="connsiteY758" fmla="*/ 3398293 h 5397690"/>
                <a:gd name="connsiteX759" fmla="*/ 1221474 w 9758149"/>
                <a:gd name="connsiteY759" fmla="*/ 3398293 h 5397690"/>
                <a:gd name="connsiteX760" fmla="*/ 1187355 w 9758149"/>
                <a:gd name="connsiteY760" fmla="*/ 3364173 h 5397690"/>
                <a:gd name="connsiteX761" fmla="*/ 1125940 w 9758149"/>
                <a:gd name="connsiteY761" fmla="*/ 3377821 h 5397690"/>
                <a:gd name="connsiteX762" fmla="*/ 1084997 w 9758149"/>
                <a:gd name="connsiteY762" fmla="*/ 3398293 h 5397690"/>
                <a:gd name="connsiteX763" fmla="*/ 1016758 w 9758149"/>
                <a:gd name="connsiteY763" fmla="*/ 3459708 h 5397690"/>
                <a:gd name="connsiteX764" fmla="*/ 1016758 w 9758149"/>
                <a:gd name="connsiteY764" fmla="*/ 3452884 h 5397690"/>
                <a:gd name="connsiteX765" fmla="*/ 962167 w 9758149"/>
                <a:gd name="connsiteY765" fmla="*/ 3452884 h 5397690"/>
                <a:gd name="connsiteX766" fmla="*/ 962167 w 9758149"/>
                <a:gd name="connsiteY766" fmla="*/ 3521123 h 5397690"/>
                <a:gd name="connsiteX767" fmla="*/ 962167 w 9758149"/>
                <a:gd name="connsiteY767" fmla="*/ 3521123 h 5397690"/>
                <a:gd name="connsiteX768" fmla="*/ 989462 w 9758149"/>
                <a:gd name="connsiteY768" fmla="*/ 3568890 h 5397690"/>
                <a:gd name="connsiteX769" fmla="*/ 1009934 w 9758149"/>
                <a:gd name="connsiteY769" fmla="*/ 3596185 h 5397690"/>
                <a:gd name="connsiteX770" fmla="*/ 982638 w 9758149"/>
                <a:gd name="connsiteY770" fmla="*/ 3643953 h 5397690"/>
                <a:gd name="connsiteX771" fmla="*/ 1009934 w 9758149"/>
                <a:gd name="connsiteY771" fmla="*/ 3671248 h 5397690"/>
                <a:gd name="connsiteX772" fmla="*/ 989462 w 9758149"/>
                <a:gd name="connsiteY772" fmla="*/ 3719015 h 5397690"/>
                <a:gd name="connsiteX773" fmla="*/ 996286 w 9758149"/>
                <a:gd name="connsiteY773" fmla="*/ 3739487 h 5397690"/>
                <a:gd name="connsiteX774" fmla="*/ 962167 w 9758149"/>
                <a:gd name="connsiteY774" fmla="*/ 3794078 h 5397690"/>
                <a:gd name="connsiteX775" fmla="*/ 989462 w 9758149"/>
                <a:gd name="connsiteY775" fmla="*/ 3828197 h 5397690"/>
                <a:gd name="connsiteX776" fmla="*/ 962167 w 9758149"/>
                <a:gd name="connsiteY776" fmla="*/ 3862317 h 5397690"/>
                <a:gd name="connsiteX777" fmla="*/ 900752 w 9758149"/>
                <a:gd name="connsiteY777" fmla="*/ 3869141 h 5397690"/>
                <a:gd name="connsiteX778" fmla="*/ 839337 w 9758149"/>
                <a:gd name="connsiteY778" fmla="*/ 3814550 h 5397690"/>
                <a:gd name="connsiteX779" fmla="*/ 791570 w 9758149"/>
                <a:gd name="connsiteY779" fmla="*/ 3828197 h 5397690"/>
                <a:gd name="connsiteX780" fmla="*/ 709683 w 9758149"/>
                <a:gd name="connsiteY780" fmla="*/ 3821373 h 5397690"/>
                <a:gd name="connsiteX781" fmla="*/ 709683 w 9758149"/>
                <a:gd name="connsiteY781" fmla="*/ 3821373 h 5397690"/>
                <a:gd name="connsiteX782" fmla="*/ 607325 w 9758149"/>
                <a:gd name="connsiteY782" fmla="*/ 3862317 h 5397690"/>
                <a:gd name="connsiteX783" fmla="*/ 607325 w 9758149"/>
                <a:gd name="connsiteY783" fmla="*/ 3862317 h 5397690"/>
                <a:gd name="connsiteX784" fmla="*/ 614149 w 9758149"/>
                <a:gd name="connsiteY784" fmla="*/ 3957851 h 5397690"/>
                <a:gd name="connsiteX785" fmla="*/ 573206 w 9758149"/>
                <a:gd name="connsiteY785" fmla="*/ 3991970 h 5397690"/>
                <a:gd name="connsiteX786" fmla="*/ 593677 w 9758149"/>
                <a:gd name="connsiteY786" fmla="*/ 4046561 h 5397690"/>
                <a:gd name="connsiteX787" fmla="*/ 545910 w 9758149"/>
                <a:gd name="connsiteY787" fmla="*/ 4073857 h 5397690"/>
                <a:gd name="connsiteX788" fmla="*/ 511791 w 9758149"/>
                <a:gd name="connsiteY788" fmla="*/ 4101153 h 5397690"/>
                <a:gd name="connsiteX789" fmla="*/ 511791 w 9758149"/>
                <a:gd name="connsiteY789" fmla="*/ 4155744 h 5397690"/>
                <a:gd name="connsiteX790" fmla="*/ 504967 w 9758149"/>
                <a:gd name="connsiteY790" fmla="*/ 4244454 h 5397690"/>
                <a:gd name="connsiteX791" fmla="*/ 477671 w 9758149"/>
                <a:gd name="connsiteY791" fmla="*/ 4271750 h 5397690"/>
                <a:gd name="connsiteX792" fmla="*/ 477671 w 9758149"/>
                <a:gd name="connsiteY792" fmla="*/ 4271750 h 5397690"/>
                <a:gd name="connsiteX793" fmla="*/ 375313 w 9758149"/>
                <a:gd name="connsiteY793" fmla="*/ 4292221 h 5397690"/>
                <a:gd name="connsiteX794" fmla="*/ 348017 w 9758149"/>
                <a:gd name="connsiteY794" fmla="*/ 4271750 h 5397690"/>
                <a:gd name="connsiteX795" fmla="*/ 320722 w 9758149"/>
                <a:gd name="connsiteY795" fmla="*/ 4237630 h 5397690"/>
                <a:gd name="connsiteX796" fmla="*/ 300250 w 9758149"/>
                <a:gd name="connsiteY796" fmla="*/ 4183039 h 5397690"/>
                <a:gd name="connsiteX797" fmla="*/ 313898 w 9758149"/>
                <a:gd name="connsiteY797" fmla="*/ 4135272 h 5397690"/>
                <a:gd name="connsiteX798" fmla="*/ 293426 w 9758149"/>
                <a:gd name="connsiteY798" fmla="*/ 4101153 h 5397690"/>
                <a:gd name="connsiteX799" fmla="*/ 279779 w 9758149"/>
                <a:gd name="connsiteY799" fmla="*/ 4039738 h 5397690"/>
                <a:gd name="connsiteX800" fmla="*/ 279779 w 9758149"/>
                <a:gd name="connsiteY800" fmla="*/ 4039738 h 5397690"/>
                <a:gd name="connsiteX801" fmla="*/ 286603 w 9758149"/>
                <a:gd name="connsiteY801" fmla="*/ 3944203 h 5397690"/>
                <a:gd name="connsiteX802" fmla="*/ 286603 w 9758149"/>
                <a:gd name="connsiteY802" fmla="*/ 3944203 h 5397690"/>
                <a:gd name="connsiteX803" fmla="*/ 245659 w 9758149"/>
                <a:gd name="connsiteY803" fmla="*/ 3882788 h 5397690"/>
                <a:gd name="connsiteX804" fmla="*/ 225188 w 9758149"/>
                <a:gd name="connsiteY804" fmla="*/ 3855493 h 5397690"/>
                <a:gd name="connsiteX805" fmla="*/ 197892 w 9758149"/>
                <a:gd name="connsiteY805" fmla="*/ 3835021 h 5397690"/>
                <a:gd name="connsiteX806" fmla="*/ 191068 w 9758149"/>
                <a:gd name="connsiteY806" fmla="*/ 3780430 h 5397690"/>
                <a:gd name="connsiteX807" fmla="*/ 177420 w 9758149"/>
                <a:gd name="connsiteY807" fmla="*/ 3725839 h 5397690"/>
                <a:gd name="connsiteX808" fmla="*/ 177420 w 9758149"/>
                <a:gd name="connsiteY808" fmla="*/ 3691720 h 5397690"/>
                <a:gd name="connsiteX809" fmla="*/ 143301 w 9758149"/>
                <a:gd name="connsiteY809" fmla="*/ 3657600 h 5397690"/>
                <a:gd name="connsiteX810" fmla="*/ 116006 w 9758149"/>
                <a:gd name="connsiteY810" fmla="*/ 3616657 h 5397690"/>
                <a:gd name="connsiteX811" fmla="*/ 102358 w 9758149"/>
                <a:gd name="connsiteY811" fmla="*/ 3603009 h 5397690"/>
                <a:gd name="connsiteX812" fmla="*/ 102358 w 9758149"/>
                <a:gd name="connsiteY812" fmla="*/ 3568890 h 5397690"/>
                <a:gd name="connsiteX813" fmla="*/ 88710 w 9758149"/>
                <a:gd name="connsiteY813" fmla="*/ 3534770 h 5397690"/>
                <a:gd name="connsiteX814" fmla="*/ 75062 w 9758149"/>
                <a:gd name="connsiteY814" fmla="*/ 3500651 h 5397690"/>
                <a:gd name="connsiteX815" fmla="*/ 75062 w 9758149"/>
                <a:gd name="connsiteY815" fmla="*/ 3500651 h 5397690"/>
                <a:gd name="connsiteX816" fmla="*/ 6823 w 9758149"/>
                <a:gd name="connsiteY816" fmla="*/ 3473355 h 5397690"/>
                <a:gd name="connsiteX817" fmla="*/ 6823 w 9758149"/>
                <a:gd name="connsiteY817" fmla="*/ 3473355 h 5397690"/>
                <a:gd name="connsiteX818" fmla="*/ 27295 w 9758149"/>
                <a:gd name="connsiteY818" fmla="*/ 3391469 h 5397690"/>
                <a:gd name="connsiteX819" fmla="*/ 27295 w 9758149"/>
                <a:gd name="connsiteY819" fmla="*/ 3391469 h 5397690"/>
                <a:gd name="connsiteX820" fmla="*/ 6823 w 9758149"/>
                <a:gd name="connsiteY820" fmla="*/ 3282287 h 5397690"/>
                <a:gd name="connsiteX821" fmla="*/ 6823 w 9758149"/>
                <a:gd name="connsiteY821" fmla="*/ 3282287 h 5397690"/>
                <a:gd name="connsiteX822" fmla="*/ 0 w 9758149"/>
                <a:gd name="connsiteY822" fmla="*/ 3166281 h 5397690"/>
                <a:gd name="connsiteX823" fmla="*/ 27295 w 9758149"/>
                <a:gd name="connsiteY823" fmla="*/ 3125338 h 5397690"/>
                <a:gd name="connsiteX824" fmla="*/ 0 w 9758149"/>
                <a:gd name="connsiteY824" fmla="*/ 3077570 h 5397690"/>
                <a:gd name="connsiteX825" fmla="*/ 34119 w 9758149"/>
                <a:gd name="connsiteY825" fmla="*/ 3043451 h 5397690"/>
                <a:gd name="connsiteX826" fmla="*/ 34119 w 9758149"/>
                <a:gd name="connsiteY826" fmla="*/ 3043451 h 5397690"/>
                <a:gd name="connsiteX827" fmla="*/ 122829 w 9758149"/>
                <a:gd name="connsiteY827" fmla="*/ 3057099 h 5397690"/>
                <a:gd name="connsiteX828" fmla="*/ 184244 w 9758149"/>
                <a:gd name="connsiteY828" fmla="*/ 3057099 h 5397690"/>
                <a:gd name="connsiteX829" fmla="*/ 211540 w 9758149"/>
                <a:gd name="connsiteY829" fmla="*/ 3009332 h 5397690"/>
                <a:gd name="connsiteX830" fmla="*/ 320722 w 9758149"/>
                <a:gd name="connsiteY830" fmla="*/ 3022979 h 5397690"/>
                <a:gd name="connsiteX831" fmla="*/ 334370 w 9758149"/>
                <a:gd name="connsiteY831" fmla="*/ 3002508 h 5397690"/>
                <a:gd name="connsiteX832" fmla="*/ 375313 w 9758149"/>
                <a:gd name="connsiteY832" fmla="*/ 2982036 h 5397690"/>
                <a:gd name="connsiteX833" fmla="*/ 436728 w 9758149"/>
                <a:gd name="connsiteY833" fmla="*/ 3009332 h 5397690"/>
                <a:gd name="connsiteX834" fmla="*/ 470847 w 9758149"/>
                <a:gd name="connsiteY834" fmla="*/ 2982036 h 5397690"/>
                <a:gd name="connsiteX835" fmla="*/ 518615 w 9758149"/>
                <a:gd name="connsiteY835" fmla="*/ 3009332 h 5397690"/>
                <a:gd name="connsiteX836" fmla="*/ 559558 w 9758149"/>
                <a:gd name="connsiteY836" fmla="*/ 2975212 h 5397690"/>
                <a:gd name="connsiteX837" fmla="*/ 593677 w 9758149"/>
                <a:gd name="connsiteY837" fmla="*/ 2947917 h 5397690"/>
                <a:gd name="connsiteX838" fmla="*/ 655092 w 9758149"/>
                <a:gd name="connsiteY838" fmla="*/ 2927445 h 5397690"/>
                <a:gd name="connsiteX839" fmla="*/ 655092 w 9758149"/>
                <a:gd name="connsiteY839" fmla="*/ 2886502 h 5397690"/>
                <a:gd name="connsiteX840" fmla="*/ 668740 w 9758149"/>
                <a:gd name="connsiteY840" fmla="*/ 2866030 h 5397690"/>
                <a:gd name="connsiteX841" fmla="*/ 641444 w 9758149"/>
                <a:gd name="connsiteY841" fmla="*/ 2818263 h 5397690"/>
                <a:gd name="connsiteX842" fmla="*/ 627797 w 9758149"/>
                <a:gd name="connsiteY842" fmla="*/ 2777320 h 5397690"/>
                <a:gd name="connsiteX843" fmla="*/ 593677 w 9758149"/>
                <a:gd name="connsiteY843" fmla="*/ 2750024 h 5397690"/>
                <a:gd name="connsiteX844" fmla="*/ 614149 w 9758149"/>
                <a:gd name="connsiteY844" fmla="*/ 2709081 h 5397690"/>
                <a:gd name="connsiteX845" fmla="*/ 634620 w 9758149"/>
                <a:gd name="connsiteY845" fmla="*/ 2654490 h 5397690"/>
                <a:gd name="connsiteX846" fmla="*/ 634620 w 9758149"/>
                <a:gd name="connsiteY846" fmla="*/ 2654490 h 5397690"/>
                <a:gd name="connsiteX847" fmla="*/ 586853 w 9758149"/>
                <a:gd name="connsiteY847" fmla="*/ 2613547 h 5397690"/>
                <a:gd name="connsiteX848" fmla="*/ 586853 w 9758149"/>
                <a:gd name="connsiteY848" fmla="*/ 2613547 h 5397690"/>
                <a:gd name="connsiteX849" fmla="*/ 580029 w 9758149"/>
                <a:gd name="connsiteY849" fmla="*/ 2511188 h 5397690"/>
                <a:gd name="connsiteX850" fmla="*/ 614149 w 9758149"/>
                <a:gd name="connsiteY850" fmla="*/ 2490717 h 5397690"/>
                <a:gd name="connsiteX851" fmla="*/ 593677 w 9758149"/>
                <a:gd name="connsiteY851" fmla="*/ 2456597 h 5397690"/>
                <a:gd name="connsiteX852" fmla="*/ 580029 w 9758149"/>
                <a:gd name="connsiteY852" fmla="*/ 2388358 h 5397690"/>
                <a:gd name="connsiteX853" fmla="*/ 607325 w 9758149"/>
                <a:gd name="connsiteY853" fmla="*/ 2333767 h 5397690"/>
                <a:gd name="connsiteX854" fmla="*/ 682388 w 9758149"/>
                <a:gd name="connsiteY854" fmla="*/ 2251881 h 5397690"/>
                <a:gd name="connsiteX855" fmla="*/ 682388 w 9758149"/>
                <a:gd name="connsiteY855" fmla="*/ 2251881 h 5397690"/>
                <a:gd name="connsiteX856" fmla="*/ 634620 w 9758149"/>
                <a:gd name="connsiteY856" fmla="*/ 2169994 h 5397690"/>
                <a:gd name="connsiteX857" fmla="*/ 614149 w 9758149"/>
                <a:gd name="connsiteY857" fmla="*/ 2067636 h 5397690"/>
                <a:gd name="connsiteX858" fmla="*/ 655092 w 9758149"/>
                <a:gd name="connsiteY858" fmla="*/ 2019869 h 5397690"/>
                <a:gd name="connsiteX859" fmla="*/ 723331 w 9758149"/>
                <a:gd name="connsiteY859" fmla="*/ 2006221 h 5397690"/>
                <a:gd name="connsiteX860" fmla="*/ 764274 w 9758149"/>
                <a:gd name="connsiteY860" fmla="*/ 2047164 h 5397690"/>
                <a:gd name="connsiteX861" fmla="*/ 784746 w 9758149"/>
                <a:gd name="connsiteY861" fmla="*/ 1958454 h 5397690"/>
                <a:gd name="connsiteX862" fmla="*/ 832513 w 9758149"/>
                <a:gd name="connsiteY862" fmla="*/ 1910687 h 5397690"/>
                <a:gd name="connsiteX863" fmla="*/ 921223 w 9758149"/>
                <a:gd name="connsiteY863" fmla="*/ 1856096 h 5397690"/>
                <a:gd name="connsiteX864" fmla="*/ 914400 w 9758149"/>
                <a:gd name="connsiteY864" fmla="*/ 1794681 h 5397690"/>
                <a:gd name="connsiteX865" fmla="*/ 914400 w 9758149"/>
                <a:gd name="connsiteY865" fmla="*/ 1726442 h 5397690"/>
                <a:gd name="connsiteX866" fmla="*/ 846161 w 9758149"/>
                <a:gd name="connsiteY866" fmla="*/ 1624084 h 5397690"/>
                <a:gd name="connsiteX867" fmla="*/ 866632 w 9758149"/>
                <a:gd name="connsiteY867" fmla="*/ 1569493 h 5397690"/>
                <a:gd name="connsiteX868" fmla="*/ 934871 w 9758149"/>
                <a:gd name="connsiteY868" fmla="*/ 1555845 h 5397690"/>
                <a:gd name="connsiteX869" fmla="*/ 934871 w 9758149"/>
                <a:gd name="connsiteY869" fmla="*/ 1555845 h 5397690"/>
                <a:gd name="connsiteX870" fmla="*/ 1016758 w 9758149"/>
                <a:gd name="connsiteY870" fmla="*/ 1460311 h 5397690"/>
                <a:gd name="connsiteX871" fmla="*/ 1119116 w 9758149"/>
                <a:gd name="connsiteY871" fmla="*/ 1467135 h 5397690"/>
                <a:gd name="connsiteX872" fmla="*/ 1146412 w 9758149"/>
                <a:gd name="connsiteY872" fmla="*/ 1419367 h 5397690"/>
                <a:gd name="connsiteX873" fmla="*/ 1214650 w 9758149"/>
                <a:gd name="connsiteY873" fmla="*/ 1412544 h 5397690"/>
                <a:gd name="connsiteX874" fmla="*/ 1262417 w 9758149"/>
                <a:gd name="connsiteY874" fmla="*/ 1385248 h 5397690"/>
                <a:gd name="connsiteX875" fmla="*/ 1303361 w 9758149"/>
                <a:gd name="connsiteY875" fmla="*/ 1378424 h 5397690"/>
                <a:gd name="connsiteX876" fmla="*/ 1351128 w 9758149"/>
                <a:gd name="connsiteY876" fmla="*/ 1398896 h 5397690"/>
                <a:gd name="connsiteX877" fmla="*/ 1351128 w 9758149"/>
                <a:gd name="connsiteY877" fmla="*/ 1398896 h 5397690"/>
                <a:gd name="connsiteX878" fmla="*/ 1433015 w 9758149"/>
                <a:gd name="connsiteY878" fmla="*/ 1419367 h 5397690"/>
                <a:gd name="connsiteX879" fmla="*/ 1439838 w 9758149"/>
                <a:gd name="connsiteY879" fmla="*/ 1371600 h 5397690"/>
                <a:gd name="connsiteX880" fmla="*/ 1439838 w 9758149"/>
                <a:gd name="connsiteY880" fmla="*/ 1371600 h 5397690"/>
                <a:gd name="connsiteX881" fmla="*/ 1405719 w 9758149"/>
                <a:gd name="connsiteY881" fmla="*/ 1296538 h 5397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</a:cxnLst>
              <a:rect l="l" t="t" r="r" b="b"/>
              <a:pathLst>
                <a:path w="9758149" h="5397690">
                  <a:moveTo>
                    <a:pt x="1405719" y="1296538"/>
                  </a:moveTo>
                  <a:lnTo>
                    <a:pt x="1753737" y="1364776"/>
                  </a:lnTo>
                  <a:lnTo>
                    <a:pt x="1828800" y="1323833"/>
                  </a:lnTo>
                  <a:lnTo>
                    <a:pt x="1828800" y="1248770"/>
                  </a:lnTo>
                  <a:lnTo>
                    <a:pt x="1869743" y="1207827"/>
                  </a:lnTo>
                  <a:lnTo>
                    <a:pt x="1937982" y="1214651"/>
                  </a:lnTo>
                  <a:lnTo>
                    <a:pt x="1937982" y="1214651"/>
                  </a:lnTo>
                  <a:lnTo>
                    <a:pt x="1944806" y="1139588"/>
                  </a:lnTo>
                  <a:lnTo>
                    <a:pt x="1985749" y="1139588"/>
                  </a:lnTo>
                  <a:lnTo>
                    <a:pt x="1992573" y="1078173"/>
                  </a:lnTo>
                  <a:lnTo>
                    <a:pt x="2047164" y="1078173"/>
                  </a:lnTo>
                  <a:lnTo>
                    <a:pt x="2074459" y="1044054"/>
                  </a:lnTo>
                  <a:lnTo>
                    <a:pt x="2142698" y="1037230"/>
                  </a:lnTo>
                  <a:lnTo>
                    <a:pt x="2176817" y="962167"/>
                  </a:lnTo>
                  <a:lnTo>
                    <a:pt x="2251880" y="921224"/>
                  </a:lnTo>
                  <a:lnTo>
                    <a:pt x="2313295" y="921224"/>
                  </a:lnTo>
                  <a:lnTo>
                    <a:pt x="2354238" y="887105"/>
                  </a:lnTo>
                  <a:lnTo>
                    <a:pt x="2354238" y="832514"/>
                  </a:lnTo>
                  <a:lnTo>
                    <a:pt x="2374710" y="791570"/>
                  </a:lnTo>
                  <a:lnTo>
                    <a:pt x="2442949" y="798394"/>
                  </a:lnTo>
                  <a:lnTo>
                    <a:pt x="2470244" y="757451"/>
                  </a:lnTo>
                  <a:lnTo>
                    <a:pt x="2518012" y="764275"/>
                  </a:lnTo>
                  <a:lnTo>
                    <a:pt x="2565779" y="818866"/>
                  </a:lnTo>
                  <a:lnTo>
                    <a:pt x="2627194" y="825690"/>
                  </a:lnTo>
                  <a:lnTo>
                    <a:pt x="2661313" y="859809"/>
                  </a:lnTo>
                  <a:lnTo>
                    <a:pt x="2674961" y="907576"/>
                  </a:lnTo>
                  <a:lnTo>
                    <a:pt x="2654489" y="955344"/>
                  </a:lnTo>
                  <a:lnTo>
                    <a:pt x="2654489" y="996287"/>
                  </a:lnTo>
                  <a:lnTo>
                    <a:pt x="2688609" y="1050878"/>
                  </a:lnTo>
                  <a:lnTo>
                    <a:pt x="2702256" y="1098645"/>
                  </a:lnTo>
                  <a:lnTo>
                    <a:pt x="2688609" y="1194179"/>
                  </a:lnTo>
                  <a:lnTo>
                    <a:pt x="2688609" y="1310185"/>
                  </a:lnTo>
                  <a:lnTo>
                    <a:pt x="2688609" y="1392072"/>
                  </a:lnTo>
                  <a:lnTo>
                    <a:pt x="2647665" y="1473958"/>
                  </a:lnTo>
                  <a:lnTo>
                    <a:pt x="2586250" y="1514902"/>
                  </a:lnTo>
                  <a:lnTo>
                    <a:pt x="2490716" y="1514902"/>
                  </a:lnTo>
                  <a:lnTo>
                    <a:pt x="2429301" y="1467135"/>
                  </a:lnTo>
                  <a:lnTo>
                    <a:pt x="2388358" y="1405720"/>
                  </a:lnTo>
                  <a:lnTo>
                    <a:pt x="2361062" y="1344305"/>
                  </a:lnTo>
                  <a:lnTo>
                    <a:pt x="2354238" y="1262418"/>
                  </a:lnTo>
                  <a:lnTo>
                    <a:pt x="2333767" y="1207827"/>
                  </a:lnTo>
                  <a:lnTo>
                    <a:pt x="2326943" y="1166884"/>
                  </a:lnTo>
                  <a:lnTo>
                    <a:pt x="2292823" y="1228299"/>
                  </a:lnTo>
                  <a:lnTo>
                    <a:pt x="2292823" y="1289714"/>
                  </a:lnTo>
                  <a:lnTo>
                    <a:pt x="2251880" y="1337481"/>
                  </a:lnTo>
                  <a:lnTo>
                    <a:pt x="2197289" y="1344305"/>
                  </a:lnTo>
                  <a:lnTo>
                    <a:pt x="2142698" y="1412544"/>
                  </a:lnTo>
                  <a:lnTo>
                    <a:pt x="2142698" y="1473958"/>
                  </a:lnTo>
                  <a:lnTo>
                    <a:pt x="2115403" y="1528550"/>
                  </a:lnTo>
                  <a:lnTo>
                    <a:pt x="2149522" y="1576317"/>
                  </a:lnTo>
                  <a:lnTo>
                    <a:pt x="2190465" y="1549021"/>
                  </a:lnTo>
                  <a:lnTo>
                    <a:pt x="2176817" y="1514902"/>
                  </a:lnTo>
                  <a:lnTo>
                    <a:pt x="2204113" y="1446663"/>
                  </a:lnTo>
                  <a:lnTo>
                    <a:pt x="2245056" y="1446663"/>
                  </a:lnTo>
                  <a:lnTo>
                    <a:pt x="2279176" y="1433015"/>
                  </a:lnTo>
                  <a:lnTo>
                    <a:pt x="2299647" y="1460311"/>
                  </a:lnTo>
                  <a:lnTo>
                    <a:pt x="2292823" y="1521726"/>
                  </a:lnTo>
                  <a:lnTo>
                    <a:pt x="2306471" y="1596788"/>
                  </a:lnTo>
                  <a:lnTo>
                    <a:pt x="2340591" y="1603612"/>
                  </a:lnTo>
                  <a:lnTo>
                    <a:pt x="2367886" y="1589964"/>
                  </a:lnTo>
                  <a:lnTo>
                    <a:pt x="2374710" y="1549021"/>
                  </a:lnTo>
                  <a:lnTo>
                    <a:pt x="2429301" y="1535373"/>
                  </a:lnTo>
                  <a:lnTo>
                    <a:pt x="2490716" y="1562669"/>
                  </a:lnTo>
                  <a:lnTo>
                    <a:pt x="2565779" y="1549021"/>
                  </a:lnTo>
                  <a:lnTo>
                    <a:pt x="2606722" y="1576317"/>
                  </a:lnTo>
                  <a:lnTo>
                    <a:pt x="2620370" y="1624084"/>
                  </a:lnTo>
                  <a:lnTo>
                    <a:pt x="2668137" y="1624084"/>
                  </a:lnTo>
                  <a:lnTo>
                    <a:pt x="2709080" y="1603612"/>
                  </a:lnTo>
                  <a:lnTo>
                    <a:pt x="2709080" y="1549021"/>
                  </a:lnTo>
                  <a:lnTo>
                    <a:pt x="2750023" y="1528550"/>
                  </a:lnTo>
                  <a:lnTo>
                    <a:pt x="2790967" y="1528550"/>
                  </a:lnTo>
                  <a:lnTo>
                    <a:pt x="2825086" y="1473958"/>
                  </a:lnTo>
                  <a:lnTo>
                    <a:pt x="2852382" y="1467135"/>
                  </a:lnTo>
                  <a:lnTo>
                    <a:pt x="2852382" y="1439839"/>
                  </a:lnTo>
                  <a:lnTo>
                    <a:pt x="2879677" y="1426191"/>
                  </a:lnTo>
                  <a:lnTo>
                    <a:pt x="2879677" y="1426191"/>
                  </a:lnTo>
                  <a:lnTo>
                    <a:pt x="2927444" y="1501254"/>
                  </a:lnTo>
                  <a:lnTo>
                    <a:pt x="2927444" y="1549021"/>
                  </a:lnTo>
                  <a:lnTo>
                    <a:pt x="2900149" y="1610436"/>
                  </a:lnTo>
                  <a:lnTo>
                    <a:pt x="2866029" y="1617260"/>
                  </a:lnTo>
                  <a:lnTo>
                    <a:pt x="2838734" y="1596788"/>
                  </a:lnTo>
                  <a:lnTo>
                    <a:pt x="2797791" y="1603612"/>
                  </a:lnTo>
                  <a:lnTo>
                    <a:pt x="2790967" y="1637732"/>
                  </a:lnTo>
                  <a:lnTo>
                    <a:pt x="2790967" y="1665027"/>
                  </a:lnTo>
                  <a:lnTo>
                    <a:pt x="2770495" y="1678675"/>
                  </a:lnTo>
                  <a:lnTo>
                    <a:pt x="2804615" y="1705970"/>
                  </a:lnTo>
                  <a:lnTo>
                    <a:pt x="2852382" y="1705970"/>
                  </a:lnTo>
                  <a:lnTo>
                    <a:pt x="2893325" y="1678675"/>
                  </a:lnTo>
                  <a:lnTo>
                    <a:pt x="2941092" y="1692323"/>
                  </a:lnTo>
                  <a:lnTo>
                    <a:pt x="2961564" y="1671851"/>
                  </a:lnTo>
                  <a:lnTo>
                    <a:pt x="3022979" y="1685499"/>
                  </a:lnTo>
                  <a:lnTo>
                    <a:pt x="3111689" y="1699147"/>
                  </a:lnTo>
                  <a:lnTo>
                    <a:pt x="3118513" y="1740090"/>
                  </a:lnTo>
                  <a:lnTo>
                    <a:pt x="3186752" y="1733266"/>
                  </a:lnTo>
                  <a:lnTo>
                    <a:pt x="3207223" y="1726442"/>
                  </a:lnTo>
                  <a:lnTo>
                    <a:pt x="3268638" y="1740090"/>
                  </a:lnTo>
                  <a:lnTo>
                    <a:pt x="3289110" y="1781033"/>
                  </a:lnTo>
                  <a:lnTo>
                    <a:pt x="3241343" y="1787857"/>
                  </a:lnTo>
                  <a:lnTo>
                    <a:pt x="3220871" y="1815153"/>
                  </a:lnTo>
                  <a:lnTo>
                    <a:pt x="3241343" y="1849272"/>
                  </a:lnTo>
                  <a:lnTo>
                    <a:pt x="3282286" y="1842448"/>
                  </a:lnTo>
                  <a:lnTo>
                    <a:pt x="3309582" y="1835624"/>
                  </a:lnTo>
                  <a:lnTo>
                    <a:pt x="3343701" y="1856096"/>
                  </a:lnTo>
                  <a:lnTo>
                    <a:pt x="3350525" y="1897039"/>
                  </a:lnTo>
                  <a:lnTo>
                    <a:pt x="3418764" y="1883391"/>
                  </a:lnTo>
                  <a:lnTo>
                    <a:pt x="3452883" y="1897039"/>
                  </a:lnTo>
                  <a:lnTo>
                    <a:pt x="3466531" y="1862920"/>
                  </a:lnTo>
                  <a:lnTo>
                    <a:pt x="3507474" y="1862920"/>
                  </a:lnTo>
                  <a:lnTo>
                    <a:pt x="3507474" y="1903863"/>
                  </a:lnTo>
                  <a:lnTo>
                    <a:pt x="3480179" y="1931158"/>
                  </a:lnTo>
                  <a:lnTo>
                    <a:pt x="3493826" y="1958454"/>
                  </a:lnTo>
                  <a:lnTo>
                    <a:pt x="3534770" y="1951630"/>
                  </a:lnTo>
                  <a:lnTo>
                    <a:pt x="3548417" y="1897039"/>
                  </a:lnTo>
                  <a:lnTo>
                    <a:pt x="3534770" y="1828800"/>
                  </a:lnTo>
                  <a:lnTo>
                    <a:pt x="3521122" y="1767385"/>
                  </a:lnTo>
                  <a:lnTo>
                    <a:pt x="3541594" y="1733266"/>
                  </a:lnTo>
                  <a:lnTo>
                    <a:pt x="3568889" y="1719618"/>
                  </a:lnTo>
                  <a:lnTo>
                    <a:pt x="3603009" y="1746914"/>
                  </a:lnTo>
                  <a:lnTo>
                    <a:pt x="3623480" y="1794681"/>
                  </a:lnTo>
                  <a:lnTo>
                    <a:pt x="3623480" y="1849272"/>
                  </a:lnTo>
                  <a:lnTo>
                    <a:pt x="3671247" y="1883391"/>
                  </a:lnTo>
                  <a:lnTo>
                    <a:pt x="3712191" y="1958454"/>
                  </a:lnTo>
                  <a:lnTo>
                    <a:pt x="3759958" y="2019869"/>
                  </a:lnTo>
                  <a:lnTo>
                    <a:pt x="3780429" y="2088108"/>
                  </a:lnTo>
                  <a:lnTo>
                    <a:pt x="3807725" y="2135875"/>
                  </a:lnTo>
                  <a:lnTo>
                    <a:pt x="3807725" y="2204114"/>
                  </a:lnTo>
                  <a:lnTo>
                    <a:pt x="3855492" y="2217761"/>
                  </a:lnTo>
                  <a:lnTo>
                    <a:pt x="3875964" y="2176818"/>
                  </a:lnTo>
                  <a:lnTo>
                    <a:pt x="3855492" y="2135875"/>
                  </a:lnTo>
                  <a:lnTo>
                    <a:pt x="3855492" y="2081284"/>
                  </a:lnTo>
                  <a:lnTo>
                    <a:pt x="3875964" y="2060812"/>
                  </a:lnTo>
                  <a:lnTo>
                    <a:pt x="3855492" y="2026693"/>
                  </a:lnTo>
                  <a:lnTo>
                    <a:pt x="3855492" y="1985750"/>
                  </a:lnTo>
                  <a:lnTo>
                    <a:pt x="3889612" y="1937982"/>
                  </a:lnTo>
                  <a:lnTo>
                    <a:pt x="3910083" y="1828800"/>
                  </a:lnTo>
                  <a:lnTo>
                    <a:pt x="3944203" y="1815153"/>
                  </a:lnTo>
                  <a:lnTo>
                    <a:pt x="3985146" y="1815153"/>
                  </a:lnTo>
                  <a:lnTo>
                    <a:pt x="4060209" y="1767385"/>
                  </a:lnTo>
                  <a:lnTo>
                    <a:pt x="4087504" y="1712794"/>
                  </a:lnTo>
                  <a:lnTo>
                    <a:pt x="4135271" y="1671851"/>
                  </a:lnTo>
                  <a:lnTo>
                    <a:pt x="4189862" y="1658203"/>
                  </a:lnTo>
                  <a:lnTo>
                    <a:pt x="4203510" y="1617260"/>
                  </a:lnTo>
                  <a:lnTo>
                    <a:pt x="4237629" y="1610436"/>
                  </a:lnTo>
                  <a:lnTo>
                    <a:pt x="4292220" y="1624084"/>
                  </a:lnTo>
                  <a:lnTo>
                    <a:pt x="4299044" y="1671851"/>
                  </a:lnTo>
                  <a:lnTo>
                    <a:pt x="4258101" y="1685499"/>
                  </a:lnTo>
                  <a:lnTo>
                    <a:pt x="4264925" y="1726442"/>
                  </a:lnTo>
                  <a:lnTo>
                    <a:pt x="4278573" y="1774209"/>
                  </a:lnTo>
                  <a:lnTo>
                    <a:pt x="4271749" y="1815153"/>
                  </a:lnTo>
                  <a:lnTo>
                    <a:pt x="4237629" y="1849272"/>
                  </a:lnTo>
                  <a:lnTo>
                    <a:pt x="4223982" y="1903863"/>
                  </a:lnTo>
                  <a:lnTo>
                    <a:pt x="4264925" y="1876567"/>
                  </a:lnTo>
                  <a:lnTo>
                    <a:pt x="4305868" y="1876567"/>
                  </a:lnTo>
                  <a:lnTo>
                    <a:pt x="4333164" y="1828800"/>
                  </a:lnTo>
                  <a:lnTo>
                    <a:pt x="4346812" y="1774209"/>
                  </a:lnTo>
                  <a:lnTo>
                    <a:pt x="4353635" y="1719618"/>
                  </a:lnTo>
                  <a:lnTo>
                    <a:pt x="4353635" y="1719618"/>
                  </a:lnTo>
                  <a:lnTo>
                    <a:pt x="4401403" y="1719618"/>
                  </a:lnTo>
                  <a:lnTo>
                    <a:pt x="4421874" y="1760561"/>
                  </a:lnTo>
                  <a:lnTo>
                    <a:pt x="4401403" y="1808329"/>
                  </a:lnTo>
                  <a:lnTo>
                    <a:pt x="4421874" y="1835624"/>
                  </a:lnTo>
                  <a:lnTo>
                    <a:pt x="4469641" y="1828800"/>
                  </a:lnTo>
                  <a:lnTo>
                    <a:pt x="4496937" y="1876567"/>
                  </a:lnTo>
                  <a:lnTo>
                    <a:pt x="4531056" y="1883391"/>
                  </a:lnTo>
                  <a:lnTo>
                    <a:pt x="4551528" y="1931158"/>
                  </a:lnTo>
                  <a:lnTo>
                    <a:pt x="4592471" y="1992573"/>
                  </a:lnTo>
                  <a:lnTo>
                    <a:pt x="4633415" y="1985750"/>
                  </a:lnTo>
                  <a:lnTo>
                    <a:pt x="4640238" y="1944806"/>
                  </a:lnTo>
                  <a:lnTo>
                    <a:pt x="4606119" y="1917511"/>
                  </a:lnTo>
                  <a:lnTo>
                    <a:pt x="4578823" y="1862920"/>
                  </a:lnTo>
                  <a:lnTo>
                    <a:pt x="4599295" y="1801505"/>
                  </a:lnTo>
                  <a:lnTo>
                    <a:pt x="4599295" y="1760561"/>
                  </a:lnTo>
                  <a:lnTo>
                    <a:pt x="4647062" y="1753738"/>
                  </a:lnTo>
                  <a:lnTo>
                    <a:pt x="4708477" y="1774209"/>
                  </a:lnTo>
                  <a:lnTo>
                    <a:pt x="4749420" y="1767385"/>
                  </a:lnTo>
                  <a:lnTo>
                    <a:pt x="4831307" y="1787857"/>
                  </a:lnTo>
                  <a:lnTo>
                    <a:pt x="4831307" y="1787857"/>
                  </a:lnTo>
                  <a:lnTo>
                    <a:pt x="4892722" y="1815153"/>
                  </a:lnTo>
                  <a:lnTo>
                    <a:pt x="4920017" y="1787857"/>
                  </a:lnTo>
                  <a:lnTo>
                    <a:pt x="4892722" y="1740090"/>
                  </a:lnTo>
                  <a:lnTo>
                    <a:pt x="4872250" y="1617260"/>
                  </a:lnTo>
                  <a:lnTo>
                    <a:pt x="4926841" y="1589964"/>
                  </a:lnTo>
                  <a:lnTo>
                    <a:pt x="4926841" y="1589964"/>
                  </a:lnTo>
                  <a:lnTo>
                    <a:pt x="5008728" y="1576317"/>
                  </a:lnTo>
                  <a:lnTo>
                    <a:pt x="5083791" y="1535373"/>
                  </a:lnTo>
                  <a:lnTo>
                    <a:pt x="5172501" y="1508078"/>
                  </a:lnTo>
                  <a:lnTo>
                    <a:pt x="5172501" y="1508078"/>
                  </a:lnTo>
                  <a:lnTo>
                    <a:pt x="5199797" y="1467135"/>
                  </a:lnTo>
                  <a:lnTo>
                    <a:pt x="5261212" y="1453487"/>
                  </a:lnTo>
                  <a:lnTo>
                    <a:pt x="5322626" y="1480782"/>
                  </a:lnTo>
                  <a:lnTo>
                    <a:pt x="5343098" y="1453487"/>
                  </a:lnTo>
                  <a:lnTo>
                    <a:pt x="5397689" y="1453487"/>
                  </a:lnTo>
                  <a:lnTo>
                    <a:pt x="5411337" y="1412544"/>
                  </a:lnTo>
                  <a:lnTo>
                    <a:pt x="5411337" y="1330657"/>
                  </a:lnTo>
                  <a:lnTo>
                    <a:pt x="5472752" y="1317009"/>
                  </a:lnTo>
                  <a:lnTo>
                    <a:pt x="5493223" y="1282890"/>
                  </a:lnTo>
                  <a:lnTo>
                    <a:pt x="5554638" y="1276066"/>
                  </a:lnTo>
                  <a:lnTo>
                    <a:pt x="5636525" y="1317009"/>
                  </a:lnTo>
                  <a:lnTo>
                    <a:pt x="5656997" y="1364776"/>
                  </a:lnTo>
                  <a:lnTo>
                    <a:pt x="5622877" y="1378424"/>
                  </a:lnTo>
                  <a:lnTo>
                    <a:pt x="5684292" y="1405720"/>
                  </a:lnTo>
                  <a:lnTo>
                    <a:pt x="5732059" y="1398896"/>
                  </a:lnTo>
                  <a:lnTo>
                    <a:pt x="5807122" y="1439839"/>
                  </a:lnTo>
                  <a:lnTo>
                    <a:pt x="5868537" y="1508078"/>
                  </a:lnTo>
                  <a:lnTo>
                    <a:pt x="5882185" y="1583141"/>
                  </a:lnTo>
                  <a:lnTo>
                    <a:pt x="5882185" y="1624084"/>
                  </a:lnTo>
                  <a:lnTo>
                    <a:pt x="5841241" y="1651379"/>
                  </a:lnTo>
                  <a:lnTo>
                    <a:pt x="5854889" y="1678675"/>
                  </a:lnTo>
                  <a:lnTo>
                    <a:pt x="5882185" y="1685499"/>
                  </a:lnTo>
                  <a:lnTo>
                    <a:pt x="5916304" y="1726442"/>
                  </a:lnTo>
                  <a:lnTo>
                    <a:pt x="5902656" y="1781033"/>
                  </a:lnTo>
                  <a:lnTo>
                    <a:pt x="5957247" y="1774209"/>
                  </a:lnTo>
                  <a:lnTo>
                    <a:pt x="5998191" y="1753738"/>
                  </a:lnTo>
                  <a:lnTo>
                    <a:pt x="6045958" y="1774209"/>
                  </a:lnTo>
                  <a:lnTo>
                    <a:pt x="6107373" y="1753738"/>
                  </a:lnTo>
                  <a:lnTo>
                    <a:pt x="6155140" y="1767385"/>
                  </a:lnTo>
                  <a:lnTo>
                    <a:pt x="6161964" y="1801505"/>
                  </a:lnTo>
                  <a:lnTo>
                    <a:pt x="6243850" y="1801505"/>
                  </a:lnTo>
                  <a:lnTo>
                    <a:pt x="6325737" y="1774209"/>
                  </a:lnTo>
                  <a:lnTo>
                    <a:pt x="6318913" y="1733266"/>
                  </a:lnTo>
                  <a:lnTo>
                    <a:pt x="6305265" y="1705970"/>
                  </a:lnTo>
                  <a:lnTo>
                    <a:pt x="6339385" y="1651379"/>
                  </a:lnTo>
                  <a:lnTo>
                    <a:pt x="6393976" y="1637732"/>
                  </a:lnTo>
                  <a:lnTo>
                    <a:pt x="6448567" y="1617260"/>
                  </a:lnTo>
                  <a:lnTo>
                    <a:pt x="6537277" y="1630908"/>
                  </a:lnTo>
                  <a:lnTo>
                    <a:pt x="6571397" y="1685499"/>
                  </a:lnTo>
                  <a:lnTo>
                    <a:pt x="6585044" y="1740090"/>
                  </a:lnTo>
                  <a:lnTo>
                    <a:pt x="6639635" y="1787857"/>
                  </a:lnTo>
                  <a:lnTo>
                    <a:pt x="6632812" y="1835624"/>
                  </a:lnTo>
                  <a:lnTo>
                    <a:pt x="6694226" y="1897039"/>
                  </a:lnTo>
                  <a:lnTo>
                    <a:pt x="6762465" y="1903863"/>
                  </a:lnTo>
                  <a:lnTo>
                    <a:pt x="6776113" y="1883391"/>
                  </a:lnTo>
                  <a:lnTo>
                    <a:pt x="6755641" y="1821976"/>
                  </a:lnTo>
                  <a:lnTo>
                    <a:pt x="6748817" y="1760561"/>
                  </a:lnTo>
                  <a:lnTo>
                    <a:pt x="6769289" y="1726442"/>
                  </a:lnTo>
                  <a:lnTo>
                    <a:pt x="6823880" y="1719618"/>
                  </a:lnTo>
                  <a:lnTo>
                    <a:pt x="6858000" y="1699147"/>
                  </a:lnTo>
                  <a:lnTo>
                    <a:pt x="6933062" y="1699147"/>
                  </a:lnTo>
                  <a:lnTo>
                    <a:pt x="6987653" y="1726442"/>
                  </a:lnTo>
                  <a:lnTo>
                    <a:pt x="6994477" y="1671851"/>
                  </a:lnTo>
                  <a:lnTo>
                    <a:pt x="7021773" y="1637732"/>
                  </a:lnTo>
                  <a:lnTo>
                    <a:pt x="7001301" y="1596788"/>
                  </a:lnTo>
                  <a:lnTo>
                    <a:pt x="6960358" y="1583141"/>
                  </a:lnTo>
                  <a:lnTo>
                    <a:pt x="6967182" y="1521726"/>
                  </a:lnTo>
                  <a:lnTo>
                    <a:pt x="6994477" y="1467135"/>
                  </a:lnTo>
                  <a:lnTo>
                    <a:pt x="6960358" y="1446663"/>
                  </a:lnTo>
                  <a:lnTo>
                    <a:pt x="7021773" y="1426191"/>
                  </a:lnTo>
                  <a:lnTo>
                    <a:pt x="7090012" y="1385248"/>
                  </a:lnTo>
                  <a:lnTo>
                    <a:pt x="7199194" y="1378424"/>
                  </a:lnTo>
                  <a:lnTo>
                    <a:pt x="7199194" y="1378424"/>
                  </a:lnTo>
                  <a:lnTo>
                    <a:pt x="7226489" y="1344305"/>
                  </a:lnTo>
                  <a:lnTo>
                    <a:pt x="7301552" y="1303361"/>
                  </a:lnTo>
                  <a:lnTo>
                    <a:pt x="7390262" y="1296538"/>
                  </a:lnTo>
                  <a:lnTo>
                    <a:pt x="7431206" y="1344305"/>
                  </a:lnTo>
                  <a:lnTo>
                    <a:pt x="7492620" y="1330657"/>
                  </a:lnTo>
                  <a:lnTo>
                    <a:pt x="7547212" y="1330657"/>
                  </a:lnTo>
                  <a:lnTo>
                    <a:pt x="7588155" y="1269242"/>
                  </a:lnTo>
                  <a:lnTo>
                    <a:pt x="7594979" y="1221475"/>
                  </a:lnTo>
                  <a:lnTo>
                    <a:pt x="7663217" y="1166884"/>
                  </a:lnTo>
                  <a:lnTo>
                    <a:pt x="7663217" y="1139588"/>
                  </a:lnTo>
                  <a:lnTo>
                    <a:pt x="7751928" y="1105469"/>
                  </a:lnTo>
                  <a:lnTo>
                    <a:pt x="7813343" y="1119117"/>
                  </a:lnTo>
                  <a:lnTo>
                    <a:pt x="7861110" y="1180532"/>
                  </a:lnTo>
                  <a:lnTo>
                    <a:pt x="7908877" y="1180532"/>
                  </a:lnTo>
                  <a:lnTo>
                    <a:pt x="7942997" y="1105469"/>
                  </a:lnTo>
                  <a:lnTo>
                    <a:pt x="8004412" y="1016758"/>
                  </a:lnTo>
                  <a:lnTo>
                    <a:pt x="8099946" y="955344"/>
                  </a:lnTo>
                  <a:lnTo>
                    <a:pt x="8099946" y="900753"/>
                  </a:lnTo>
                  <a:lnTo>
                    <a:pt x="8065826" y="859809"/>
                  </a:lnTo>
                  <a:lnTo>
                    <a:pt x="8065826" y="825690"/>
                  </a:lnTo>
                  <a:lnTo>
                    <a:pt x="8106770" y="784747"/>
                  </a:lnTo>
                  <a:lnTo>
                    <a:pt x="8120417" y="723332"/>
                  </a:lnTo>
                  <a:lnTo>
                    <a:pt x="8175009" y="682388"/>
                  </a:lnTo>
                  <a:lnTo>
                    <a:pt x="8222776" y="641445"/>
                  </a:lnTo>
                  <a:lnTo>
                    <a:pt x="8250071" y="573206"/>
                  </a:lnTo>
                  <a:lnTo>
                    <a:pt x="8331958" y="491320"/>
                  </a:lnTo>
                  <a:lnTo>
                    <a:pt x="8407020" y="409433"/>
                  </a:lnTo>
                  <a:lnTo>
                    <a:pt x="8475259" y="395785"/>
                  </a:lnTo>
                  <a:lnTo>
                    <a:pt x="8523026" y="348018"/>
                  </a:lnTo>
                  <a:lnTo>
                    <a:pt x="8591265" y="334370"/>
                  </a:lnTo>
                  <a:lnTo>
                    <a:pt x="8652680" y="279779"/>
                  </a:lnTo>
                  <a:lnTo>
                    <a:pt x="8714095" y="252484"/>
                  </a:lnTo>
                  <a:lnTo>
                    <a:pt x="8748215" y="211541"/>
                  </a:lnTo>
                  <a:lnTo>
                    <a:pt x="8809629" y="238836"/>
                  </a:lnTo>
                  <a:lnTo>
                    <a:pt x="8836925" y="163773"/>
                  </a:lnTo>
                  <a:lnTo>
                    <a:pt x="8864220" y="163773"/>
                  </a:lnTo>
                  <a:lnTo>
                    <a:pt x="8864220" y="163773"/>
                  </a:lnTo>
                  <a:lnTo>
                    <a:pt x="8891516" y="81887"/>
                  </a:lnTo>
                  <a:lnTo>
                    <a:pt x="8959755" y="47767"/>
                  </a:lnTo>
                  <a:lnTo>
                    <a:pt x="9000698" y="0"/>
                  </a:lnTo>
                  <a:lnTo>
                    <a:pt x="9041641" y="0"/>
                  </a:lnTo>
                  <a:lnTo>
                    <a:pt x="9075761" y="34120"/>
                  </a:lnTo>
                  <a:lnTo>
                    <a:pt x="9082585" y="81887"/>
                  </a:lnTo>
                  <a:lnTo>
                    <a:pt x="9082585" y="150126"/>
                  </a:lnTo>
                  <a:lnTo>
                    <a:pt x="9144000" y="184245"/>
                  </a:lnTo>
                  <a:lnTo>
                    <a:pt x="9219062" y="211541"/>
                  </a:lnTo>
                  <a:lnTo>
                    <a:pt x="9239534" y="266132"/>
                  </a:lnTo>
                  <a:lnTo>
                    <a:pt x="9205415" y="313899"/>
                  </a:lnTo>
                  <a:lnTo>
                    <a:pt x="9171295" y="354842"/>
                  </a:lnTo>
                  <a:lnTo>
                    <a:pt x="9123528" y="354842"/>
                  </a:lnTo>
                  <a:lnTo>
                    <a:pt x="9116704" y="395785"/>
                  </a:lnTo>
                  <a:lnTo>
                    <a:pt x="9082585" y="423081"/>
                  </a:lnTo>
                  <a:lnTo>
                    <a:pt x="9021170" y="423081"/>
                  </a:lnTo>
                  <a:lnTo>
                    <a:pt x="8973403" y="457200"/>
                  </a:lnTo>
                  <a:lnTo>
                    <a:pt x="8980226" y="511791"/>
                  </a:lnTo>
                  <a:lnTo>
                    <a:pt x="8932459" y="525439"/>
                  </a:lnTo>
                  <a:lnTo>
                    <a:pt x="8980226" y="607326"/>
                  </a:lnTo>
                  <a:lnTo>
                    <a:pt x="9007522" y="689212"/>
                  </a:lnTo>
                  <a:lnTo>
                    <a:pt x="8987050" y="771099"/>
                  </a:lnTo>
                  <a:lnTo>
                    <a:pt x="9041641" y="771099"/>
                  </a:lnTo>
                  <a:lnTo>
                    <a:pt x="9096232" y="736979"/>
                  </a:lnTo>
                  <a:lnTo>
                    <a:pt x="9157647" y="757451"/>
                  </a:lnTo>
                  <a:lnTo>
                    <a:pt x="9232710" y="736979"/>
                  </a:lnTo>
                  <a:lnTo>
                    <a:pt x="9314597" y="777923"/>
                  </a:lnTo>
                  <a:lnTo>
                    <a:pt x="9335068" y="832514"/>
                  </a:lnTo>
                  <a:lnTo>
                    <a:pt x="9266829" y="859809"/>
                  </a:lnTo>
                  <a:lnTo>
                    <a:pt x="9239534" y="914400"/>
                  </a:lnTo>
                  <a:lnTo>
                    <a:pt x="9239534" y="1050878"/>
                  </a:lnTo>
                  <a:lnTo>
                    <a:pt x="9260006" y="1187355"/>
                  </a:lnTo>
                  <a:lnTo>
                    <a:pt x="9294125" y="1289714"/>
                  </a:lnTo>
                  <a:lnTo>
                    <a:pt x="9300949" y="1392072"/>
                  </a:lnTo>
                  <a:lnTo>
                    <a:pt x="9355540" y="1446663"/>
                  </a:lnTo>
                  <a:lnTo>
                    <a:pt x="9362364" y="1494430"/>
                  </a:lnTo>
                  <a:lnTo>
                    <a:pt x="9307773" y="1508078"/>
                  </a:lnTo>
                  <a:lnTo>
                    <a:pt x="9260006" y="1494430"/>
                  </a:lnTo>
                  <a:lnTo>
                    <a:pt x="9225886" y="1514902"/>
                  </a:lnTo>
                  <a:lnTo>
                    <a:pt x="9191767" y="1589964"/>
                  </a:lnTo>
                  <a:lnTo>
                    <a:pt x="9198591" y="1685499"/>
                  </a:lnTo>
                  <a:lnTo>
                    <a:pt x="9212238" y="1740090"/>
                  </a:lnTo>
                  <a:lnTo>
                    <a:pt x="9150823" y="1705970"/>
                  </a:lnTo>
                  <a:lnTo>
                    <a:pt x="9130352" y="1753738"/>
                  </a:lnTo>
                  <a:lnTo>
                    <a:pt x="9171295" y="1787857"/>
                  </a:lnTo>
                  <a:lnTo>
                    <a:pt x="9150823" y="1828800"/>
                  </a:lnTo>
                  <a:lnTo>
                    <a:pt x="9116704" y="1828800"/>
                  </a:lnTo>
                  <a:lnTo>
                    <a:pt x="9109880" y="1869744"/>
                  </a:lnTo>
                  <a:lnTo>
                    <a:pt x="9164471" y="1917511"/>
                  </a:lnTo>
                  <a:lnTo>
                    <a:pt x="9191767" y="2006221"/>
                  </a:lnTo>
                  <a:lnTo>
                    <a:pt x="9246358" y="2101755"/>
                  </a:lnTo>
                  <a:lnTo>
                    <a:pt x="9273653" y="2053988"/>
                  </a:lnTo>
                  <a:lnTo>
                    <a:pt x="9321420" y="2047164"/>
                  </a:lnTo>
                  <a:lnTo>
                    <a:pt x="9341892" y="2088108"/>
                  </a:lnTo>
                  <a:lnTo>
                    <a:pt x="9389659" y="2129051"/>
                  </a:lnTo>
                  <a:lnTo>
                    <a:pt x="9457898" y="2135875"/>
                  </a:lnTo>
                  <a:lnTo>
                    <a:pt x="9512489" y="2183642"/>
                  </a:lnTo>
                  <a:lnTo>
                    <a:pt x="9512489" y="2204114"/>
                  </a:lnTo>
                  <a:lnTo>
                    <a:pt x="9478370" y="2245057"/>
                  </a:lnTo>
                  <a:lnTo>
                    <a:pt x="9485194" y="2313296"/>
                  </a:lnTo>
                  <a:lnTo>
                    <a:pt x="9560256" y="2340591"/>
                  </a:lnTo>
                  <a:lnTo>
                    <a:pt x="9614847" y="2388358"/>
                  </a:lnTo>
                  <a:lnTo>
                    <a:pt x="9608023" y="2422478"/>
                  </a:lnTo>
                  <a:lnTo>
                    <a:pt x="9573904" y="2477069"/>
                  </a:lnTo>
                  <a:lnTo>
                    <a:pt x="9573904" y="2545308"/>
                  </a:lnTo>
                  <a:lnTo>
                    <a:pt x="9621671" y="2599899"/>
                  </a:lnTo>
                  <a:lnTo>
                    <a:pt x="9662615" y="2640842"/>
                  </a:lnTo>
                  <a:lnTo>
                    <a:pt x="9648967" y="2668138"/>
                  </a:lnTo>
                  <a:lnTo>
                    <a:pt x="9628495" y="2756848"/>
                  </a:lnTo>
                  <a:lnTo>
                    <a:pt x="9676262" y="2818263"/>
                  </a:lnTo>
                  <a:lnTo>
                    <a:pt x="9710382" y="2879678"/>
                  </a:lnTo>
                  <a:lnTo>
                    <a:pt x="9717206" y="2968388"/>
                  </a:lnTo>
                  <a:lnTo>
                    <a:pt x="9744501" y="3063923"/>
                  </a:lnTo>
                  <a:lnTo>
                    <a:pt x="9758149" y="3138985"/>
                  </a:lnTo>
                  <a:lnTo>
                    <a:pt x="9751325" y="3214048"/>
                  </a:lnTo>
                  <a:lnTo>
                    <a:pt x="9710382" y="3248167"/>
                  </a:lnTo>
                  <a:lnTo>
                    <a:pt x="9676262" y="3227696"/>
                  </a:lnTo>
                  <a:lnTo>
                    <a:pt x="9662615" y="3179929"/>
                  </a:lnTo>
                  <a:lnTo>
                    <a:pt x="9614847" y="3145809"/>
                  </a:lnTo>
                  <a:lnTo>
                    <a:pt x="9614847" y="3118514"/>
                  </a:lnTo>
                  <a:lnTo>
                    <a:pt x="9655791" y="3084394"/>
                  </a:lnTo>
                  <a:lnTo>
                    <a:pt x="9655791" y="3043451"/>
                  </a:lnTo>
                  <a:lnTo>
                    <a:pt x="9594376" y="2982036"/>
                  </a:lnTo>
                  <a:lnTo>
                    <a:pt x="9519313" y="2934269"/>
                  </a:lnTo>
                  <a:lnTo>
                    <a:pt x="9423779" y="2879678"/>
                  </a:lnTo>
                  <a:lnTo>
                    <a:pt x="9335068" y="2797791"/>
                  </a:lnTo>
                  <a:lnTo>
                    <a:pt x="9246358" y="2743200"/>
                  </a:lnTo>
                  <a:lnTo>
                    <a:pt x="9198591" y="2674961"/>
                  </a:lnTo>
                  <a:lnTo>
                    <a:pt x="9103056" y="2599899"/>
                  </a:lnTo>
                  <a:lnTo>
                    <a:pt x="9075761" y="2518012"/>
                  </a:lnTo>
                  <a:lnTo>
                    <a:pt x="9062113" y="2449773"/>
                  </a:lnTo>
                  <a:lnTo>
                    <a:pt x="9021170" y="2422478"/>
                  </a:lnTo>
                  <a:lnTo>
                    <a:pt x="9000698" y="2381535"/>
                  </a:lnTo>
                  <a:lnTo>
                    <a:pt x="9021170" y="2347415"/>
                  </a:lnTo>
                  <a:lnTo>
                    <a:pt x="9055289" y="2292824"/>
                  </a:lnTo>
                  <a:lnTo>
                    <a:pt x="9055289" y="2217761"/>
                  </a:lnTo>
                  <a:lnTo>
                    <a:pt x="9034817" y="2169994"/>
                  </a:lnTo>
                  <a:lnTo>
                    <a:pt x="9000698" y="2129051"/>
                  </a:lnTo>
                  <a:lnTo>
                    <a:pt x="9000698" y="2074460"/>
                  </a:lnTo>
                  <a:lnTo>
                    <a:pt x="8987050" y="2006221"/>
                  </a:lnTo>
                  <a:lnTo>
                    <a:pt x="8973403" y="1937982"/>
                  </a:lnTo>
                  <a:lnTo>
                    <a:pt x="8952931" y="1890215"/>
                  </a:lnTo>
                  <a:lnTo>
                    <a:pt x="8966579" y="1828800"/>
                  </a:lnTo>
                  <a:lnTo>
                    <a:pt x="8973403" y="1781033"/>
                  </a:lnTo>
                  <a:lnTo>
                    <a:pt x="8939283" y="1740090"/>
                  </a:lnTo>
                  <a:lnTo>
                    <a:pt x="8898340" y="1692323"/>
                  </a:lnTo>
                  <a:lnTo>
                    <a:pt x="8857397" y="1651379"/>
                  </a:lnTo>
                  <a:lnTo>
                    <a:pt x="8843749" y="1596788"/>
                  </a:lnTo>
                  <a:lnTo>
                    <a:pt x="8809629" y="1617260"/>
                  </a:lnTo>
                  <a:lnTo>
                    <a:pt x="8809629" y="1658203"/>
                  </a:lnTo>
                  <a:lnTo>
                    <a:pt x="8843749" y="1692323"/>
                  </a:lnTo>
                  <a:lnTo>
                    <a:pt x="8891516" y="1726442"/>
                  </a:lnTo>
                  <a:lnTo>
                    <a:pt x="8898340" y="1781033"/>
                  </a:lnTo>
                  <a:lnTo>
                    <a:pt x="8871044" y="1801505"/>
                  </a:lnTo>
                  <a:lnTo>
                    <a:pt x="8871044" y="1869744"/>
                  </a:lnTo>
                  <a:lnTo>
                    <a:pt x="8905164" y="1903863"/>
                  </a:lnTo>
                  <a:lnTo>
                    <a:pt x="8911988" y="1937982"/>
                  </a:lnTo>
                  <a:lnTo>
                    <a:pt x="8884692" y="1985750"/>
                  </a:lnTo>
                  <a:lnTo>
                    <a:pt x="8850573" y="1978926"/>
                  </a:lnTo>
                  <a:lnTo>
                    <a:pt x="8809629" y="1958454"/>
                  </a:lnTo>
                  <a:lnTo>
                    <a:pt x="8789158" y="1924335"/>
                  </a:lnTo>
                  <a:lnTo>
                    <a:pt x="8755038" y="1910687"/>
                  </a:lnTo>
                  <a:lnTo>
                    <a:pt x="8734567" y="1917511"/>
                  </a:lnTo>
                  <a:lnTo>
                    <a:pt x="8707271" y="1937982"/>
                  </a:lnTo>
                  <a:lnTo>
                    <a:pt x="8700447" y="1972102"/>
                  </a:lnTo>
                  <a:lnTo>
                    <a:pt x="8666328" y="1999397"/>
                  </a:lnTo>
                  <a:lnTo>
                    <a:pt x="8666328" y="1999397"/>
                  </a:lnTo>
                  <a:lnTo>
                    <a:pt x="8639032" y="2074460"/>
                  </a:lnTo>
                  <a:lnTo>
                    <a:pt x="8639032" y="2074460"/>
                  </a:lnTo>
                  <a:lnTo>
                    <a:pt x="8679976" y="2190466"/>
                  </a:lnTo>
                  <a:lnTo>
                    <a:pt x="8679976" y="2190466"/>
                  </a:lnTo>
                  <a:lnTo>
                    <a:pt x="8686800" y="2299648"/>
                  </a:lnTo>
                  <a:lnTo>
                    <a:pt x="8707271" y="2361063"/>
                  </a:lnTo>
                  <a:lnTo>
                    <a:pt x="8707271" y="2402006"/>
                  </a:lnTo>
                  <a:lnTo>
                    <a:pt x="8727743" y="2367887"/>
                  </a:lnTo>
                  <a:lnTo>
                    <a:pt x="8755038" y="2354239"/>
                  </a:lnTo>
                  <a:lnTo>
                    <a:pt x="8789158" y="2388358"/>
                  </a:lnTo>
                  <a:lnTo>
                    <a:pt x="8782334" y="2429302"/>
                  </a:lnTo>
                  <a:lnTo>
                    <a:pt x="8761862" y="2463421"/>
                  </a:lnTo>
                  <a:lnTo>
                    <a:pt x="8741391" y="2483893"/>
                  </a:lnTo>
                  <a:lnTo>
                    <a:pt x="8727743" y="2531660"/>
                  </a:lnTo>
                  <a:lnTo>
                    <a:pt x="8679976" y="2518012"/>
                  </a:lnTo>
                  <a:lnTo>
                    <a:pt x="8659504" y="2558955"/>
                  </a:lnTo>
                  <a:lnTo>
                    <a:pt x="8611737" y="2599899"/>
                  </a:lnTo>
                  <a:lnTo>
                    <a:pt x="8591265" y="2565779"/>
                  </a:lnTo>
                  <a:lnTo>
                    <a:pt x="8570794" y="2538484"/>
                  </a:lnTo>
                  <a:lnTo>
                    <a:pt x="8543498" y="2531660"/>
                  </a:lnTo>
                  <a:lnTo>
                    <a:pt x="8523026" y="2572603"/>
                  </a:lnTo>
                  <a:lnTo>
                    <a:pt x="8488907" y="2613547"/>
                  </a:lnTo>
                  <a:lnTo>
                    <a:pt x="8461612" y="2613547"/>
                  </a:lnTo>
                  <a:lnTo>
                    <a:pt x="8454788" y="2668138"/>
                  </a:lnTo>
                  <a:lnTo>
                    <a:pt x="8427492" y="2722729"/>
                  </a:lnTo>
                  <a:lnTo>
                    <a:pt x="8386549" y="2729553"/>
                  </a:lnTo>
                  <a:lnTo>
                    <a:pt x="8372901" y="2763672"/>
                  </a:lnTo>
                  <a:lnTo>
                    <a:pt x="8379725" y="2797791"/>
                  </a:lnTo>
                  <a:lnTo>
                    <a:pt x="8338782" y="2825087"/>
                  </a:lnTo>
                  <a:lnTo>
                    <a:pt x="8325134" y="2818263"/>
                  </a:lnTo>
                  <a:lnTo>
                    <a:pt x="8325134" y="2818263"/>
                  </a:lnTo>
                  <a:lnTo>
                    <a:pt x="8243247" y="2872854"/>
                  </a:lnTo>
                  <a:lnTo>
                    <a:pt x="8161361" y="2975212"/>
                  </a:lnTo>
                  <a:lnTo>
                    <a:pt x="8154537" y="3084394"/>
                  </a:lnTo>
                  <a:lnTo>
                    <a:pt x="8134065" y="3132161"/>
                  </a:lnTo>
                  <a:lnTo>
                    <a:pt x="8147713" y="3200400"/>
                  </a:lnTo>
                  <a:lnTo>
                    <a:pt x="8120417" y="3302758"/>
                  </a:lnTo>
                  <a:lnTo>
                    <a:pt x="8120417" y="3398293"/>
                  </a:lnTo>
                  <a:lnTo>
                    <a:pt x="8113594" y="3452884"/>
                  </a:lnTo>
                  <a:lnTo>
                    <a:pt x="8079474" y="3521123"/>
                  </a:lnTo>
                  <a:lnTo>
                    <a:pt x="8065826" y="3616657"/>
                  </a:lnTo>
                  <a:lnTo>
                    <a:pt x="8065826" y="3664424"/>
                  </a:lnTo>
                  <a:lnTo>
                    <a:pt x="8011235" y="3732663"/>
                  </a:lnTo>
                  <a:lnTo>
                    <a:pt x="8018059" y="3773606"/>
                  </a:lnTo>
                  <a:lnTo>
                    <a:pt x="8059003" y="3780430"/>
                  </a:lnTo>
                  <a:lnTo>
                    <a:pt x="8086298" y="3732663"/>
                  </a:lnTo>
                  <a:lnTo>
                    <a:pt x="8127241" y="3705367"/>
                  </a:lnTo>
                  <a:lnTo>
                    <a:pt x="8161361" y="3746311"/>
                  </a:lnTo>
                  <a:lnTo>
                    <a:pt x="8195480" y="3732663"/>
                  </a:lnTo>
                  <a:lnTo>
                    <a:pt x="8188656" y="3684896"/>
                  </a:lnTo>
                  <a:lnTo>
                    <a:pt x="8161361" y="3664424"/>
                  </a:lnTo>
                  <a:lnTo>
                    <a:pt x="8120417" y="3671248"/>
                  </a:lnTo>
                  <a:lnTo>
                    <a:pt x="8113594" y="3637129"/>
                  </a:lnTo>
                  <a:lnTo>
                    <a:pt x="8147713" y="3603009"/>
                  </a:lnTo>
                  <a:lnTo>
                    <a:pt x="8202304" y="3603009"/>
                  </a:lnTo>
                  <a:lnTo>
                    <a:pt x="8236423" y="3637129"/>
                  </a:lnTo>
                  <a:lnTo>
                    <a:pt x="8215952" y="3650776"/>
                  </a:lnTo>
                  <a:lnTo>
                    <a:pt x="8236423" y="3698544"/>
                  </a:lnTo>
                  <a:lnTo>
                    <a:pt x="8277367" y="3732663"/>
                  </a:lnTo>
                  <a:lnTo>
                    <a:pt x="8297838" y="3678072"/>
                  </a:lnTo>
                  <a:lnTo>
                    <a:pt x="8297838" y="3637129"/>
                  </a:lnTo>
                  <a:lnTo>
                    <a:pt x="8297838" y="3637129"/>
                  </a:lnTo>
                  <a:lnTo>
                    <a:pt x="8372901" y="3616657"/>
                  </a:lnTo>
                  <a:lnTo>
                    <a:pt x="8461612" y="3630305"/>
                  </a:lnTo>
                  <a:lnTo>
                    <a:pt x="8516203" y="3630305"/>
                  </a:lnTo>
                  <a:lnTo>
                    <a:pt x="8557146" y="3664424"/>
                  </a:lnTo>
                  <a:lnTo>
                    <a:pt x="8584441" y="3719015"/>
                  </a:lnTo>
                  <a:lnTo>
                    <a:pt x="8625385" y="3787254"/>
                  </a:lnTo>
                  <a:lnTo>
                    <a:pt x="8659504" y="3835021"/>
                  </a:lnTo>
                  <a:lnTo>
                    <a:pt x="8673152" y="3916908"/>
                  </a:lnTo>
                  <a:lnTo>
                    <a:pt x="8693623" y="3998794"/>
                  </a:lnTo>
                  <a:lnTo>
                    <a:pt x="8755038" y="4046561"/>
                  </a:lnTo>
                  <a:lnTo>
                    <a:pt x="8789158" y="4128448"/>
                  </a:lnTo>
                  <a:lnTo>
                    <a:pt x="8830101" y="4196687"/>
                  </a:lnTo>
                  <a:lnTo>
                    <a:pt x="8843749" y="4271750"/>
                  </a:lnTo>
                  <a:lnTo>
                    <a:pt x="8850573" y="4346812"/>
                  </a:lnTo>
                  <a:lnTo>
                    <a:pt x="8816453" y="4435523"/>
                  </a:lnTo>
                  <a:lnTo>
                    <a:pt x="8830101" y="4524233"/>
                  </a:lnTo>
                  <a:lnTo>
                    <a:pt x="8850573" y="4578824"/>
                  </a:lnTo>
                  <a:lnTo>
                    <a:pt x="8843749" y="4681182"/>
                  </a:lnTo>
                  <a:lnTo>
                    <a:pt x="8836925" y="4776717"/>
                  </a:lnTo>
                  <a:lnTo>
                    <a:pt x="8809629" y="4858603"/>
                  </a:lnTo>
                  <a:lnTo>
                    <a:pt x="8816453" y="4906370"/>
                  </a:lnTo>
                  <a:lnTo>
                    <a:pt x="8782334" y="4967785"/>
                  </a:lnTo>
                  <a:lnTo>
                    <a:pt x="8795982" y="5036024"/>
                  </a:lnTo>
                  <a:lnTo>
                    <a:pt x="8782334" y="5104263"/>
                  </a:lnTo>
                  <a:lnTo>
                    <a:pt x="8748215" y="5145206"/>
                  </a:lnTo>
                  <a:lnTo>
                    <a:pt x="8741391" y="5192973"/>
                  </a:lnTo>
                  <a:lnTo>
                    <a:pt x="8700447" y="5240741"/>
                  </a:lnTo>
                  <a:lnTo>
                    <a:pt x="8659504" y="5261212"/>
                  </a:lnTo>
                  <a:lnTo>
                    <a:pt x="8652680" y="5302155"/>
                  </a:lnTo>
                  <a:lnTo>
                    <a:pt x="8591265" y="5308979"/>
                  </a:lnTo>
                  <a:lnTo>
                    <a:pt x="8543498" y="5288508"/>
                  </a:lnTo>
                  <a:lnTo>
                    <a:pt x="8523026" y="5288508"/>
                  </a:lnTo>
                  <a:lnTo>
                    <a:pt x="8509379" y="5315803"/>
                  </a:lnTo>
                  <a:lnTo>
                    <a:pt x="8509379" y="5377218"/>
                  </a:lnTo>
                  <a:lnTo>
                    <a:pt x="8509379" y="5397690"/>
                  </a:lnTo>
                  <a:lnTo>
                    <a:pt x="8468435" y="5397690"/>
                  </a:lnTo>
                  <a:lnTo>
                    <a:pt x="8400197" y="5356747"/>
                  </a:lnTo>
                  <a:lnTo>
                    <a:pt x="8400197" y="5329451"/>
                  </a:lnTo>
                  <a:lnTo>
                    <a:pt x="8441140" y="5281684"/>
                  </a:lnTo>
                  <a:lnTo>
                    <a:pt x="8407020" y="5240741"/>
                  </a:lnTo>
                  <a:lnTo>
                    <a:pt x="8393373" y="5172502"/>
                  </a:lnTo>
                  <a:lnTo>
                    <a:pt x="8379725" y="5152030"/>
                  </a:lnTo>
                  <a:lnTo>
                    <a:pt x="8331958" y="5117911"/>
                  </a:lnTo>
                  <a:lnTo>
                    <a:pt x="8338782" y="5056496"/>
                  </a:lnTo>
                  <a:lnTo>
                    <a:pt x="8359253" y="5015553"/>
                  </a:lnTo>
                  <a:lnTo>
                    <a:pt x="8413844" y="4995081"/>
                  </a:lnTo>
                  <a:lnTo>
                    <a:pt x="8413844" y="4995081"/>
                  </a:lnTo>
                  <a:lnTo>
                    <a:pt x="8475259" y="4933666"/>
                  </a:lnTo>
                  <a:lnTo>
                    <a:pt x="8468435" y="4865427"/>
                  </a:lnTo>
                  <a:lnTo>
                    <a:pt x="8475259" y="4817660"/>
                  </a:lnTo>
                  <a:lnTo>
                    <a:pt x="8441140" y="4776717"/>
                  </a:lnTo>
                  <a:lnTo>
                    <a:pt x="8454788" y="4742597"/>
                  </a:lnTo>
                  <a:lnTo>
                    <a:pt x="8434316" y="4701654"/>
                  </a:lnTo>
                  <a:lnTo>
                    <a:pt x="8447964" y="4653887"/>
                  </a:lnTo>
                  <a:lnTo>
                    <a:pt x="8427492" y="4619767"/>
                  </a:lnTo>
                  <a:lnTo>
                    <a:pt x="8441140" y="4592472"/>
                  </a:lnTo>
                  <a:lnTo>
                    <a:pt x="8400197" y="4578824"/>
                  </a:lnTo>
                  <a:lnTo>
                    <a:pt x="8407020" y="4537881"/>
                  </a:lnTo>
                  <a:lnTo>
                    <a:pt x="8359253" y="4551529"/>
                  </a:lnTo>
                  <a:lnTo>
                    <a:pt x="8352429" y="4592472"/>
                  </a:lnTo>
                  <a:lnTo>
                    <a:pt x="8325134" y="4606120"/>
                  </a:lnTo>
                  <a:lnTo>
                    <a:pt x="8311486" y="4640239"/>
                  </a:lnTo>
                  <a:lnTo>
                    <a:pt x="8270543" y="4640239"/>
                  </a:lnTo>
                  <a:lnTo>
                    <a:pt x="8256895" y="4681182"/>
                  </a:lnTo>
                  <a:lnTo>
                    <a:pt x="8229600" y="4722126"/>
                  </a:lnTo>
                  <a:lnTo>
                    <a:pt x="8175009" y="4756245"/>
                  </a:lnTo>
                  <a:lnTo>
                    <a:pt x="8079474" y="4763069"/>
                  </a:lnTo>
                  <a:lnTo>
                    <a:pt x="8072650" y="4708478"/>
                  </a:lnTo>
                  <a:lnTo>
                    <a:pt x="8031707" y="4688006"/>
                  </a:lnTo>
                  <a:lnTo>
                    <a:pt x="7983940" y="4667535"/>
                  </a:lnTo>
                  <a:lnTo>
                    <a:pt x="7963468" y="4640239"/>
                  </a:lnTo>
                  <a:lnTo>
                    <a:pt x="7908877" y="4640239"/>
                  </a:lnTo>
                  <a:lnTo>
                    <a:pt x="7854286" y="4660711"/>
                  </a:lnTo>
                  <a:lnTo>
                    <a:pt x="7786047" y="4667535"/>
                  </a:lnTo>
                  <a:lnTo>
                    <a:pt x="7745104" y="4626591"/>
                  </a:lnTo>
                  <a:lnTo>
                    <a:pt x="7683689" y="4612944"/>
                  </a:lnTo>
                  <a:lnTo>
                    <a:pt x="7676865" y="4578824"/>
                  </a:lnTo>
                  <a:lnTo>
                    <a:pt x="7629098" y="4537881"/>
                  </a:lnTo>
                  <a:lnTo>
                    <a:pt x="7629098" y="4496938"/>
                  </a:lnTo>
                  <a:lnTo>
                    <a:pt x="7581331" y="4469642"/>
                  </a:lnTo>
                  <a:lnTo>
                    <a:pt x="7560859" y="4421875"/>
                  </a:lnTo>
                  <a:lnTo>
                    <a:pt x="7526740" y="4408227"/>
                  </a:lnTo>
                  <a:lnTo>
                    <a:pt x="7492620" y="4353636"/>
                  </a:lnTo>
                  <a:lnTo>
                    <a:pt x="7438029" y="4305869"/>
                  </a:lnTo>
                  <a:lnTo>
                    <a:pt x="7383438" y="4319517"/>
                  </a:lnTo>
                  <a:lnTo>
                    <a:pt x="7335671" y="4292221"/>
                  </a:lnTo>
                  <a:lnTo>
                    <a:pt x="7287904" y="4292221"/>
                  </a:lnTo>
                  <a:lnTo>
                    <a:pt x="7260609" y="4326341"/>
                  </a:lnTo>
                  <a:lnTo>
                    <a:pt x="7219665" y="4319517"/>
                  </a:lnTo>
                  <a:lnTo>
                    <a:pt x="7185546" y="4346812"/>
                  </a:lnTo>
                  <a:lnTo>
                    <a:pt x="7110483" y="4367284"/>
                  </a:lnTo>
                  <a:lnTo>
                    <a:pt x="7096835" y="4415051"/>
                  </a:lnTo>
                  <a:lnTo>
                    <a:pt x="7062716" y="4415051"/>
                  </a:lnTo>
                  <a:lnTo>
                    <a:pt x="7035420" y="4469642"/>
                  </a:lnTo>
                  <a:lnTo>
                    <a:pt x="7083188" y="4503761"/>
                  </a:lnTo>
                  <a:lnTo>
                    <a:pt x="7083188" y="4558353"/>
                  </a:lnTo>
                  <a:lnTo>
                    <a:pt x="7062716" y="4619767"/>
                  </a:lnTo>
                  <a:lnTo>
                    <a:pt x="7042244" y="4694830"/>
                  </a:lnTo>
                  <a:lnTo>
                    <a:pt x="7035420" y="4769893"/>
                  </a:lnTo>
                  <a:lnTo>
                    <a:pt x="7049068" y="4838132"/>
                  </a:lnTo>
                  <a:lnTo>
                    <a:pt x="7055892" y="4879075"/>
                  </a:lnTo>
                  <a:lnTo>
                    <a:pt x="7008125" y="4913194"/>
                  </a:lnTo>
                  <a:lnTo>
                    <a:pt x="6967182" y="4960961"/>
                  </a:lnTo>
                  <a:lnTo>
                    <a:pt x="6967182" y="4960961"/>
                  </a:lnTo>
                  <a:lnTo>
                    <a:pt x="6892119" y="4974609"/>
                  </a:lnTo>
                  <a:lnTo>
                    <a:pt x="6844352" y="4940490"/>
                  </a:lnTo>
                  <a:lnTo>
                    <a:pt x="6803409" y="4940490"/>
                  </a:lnTo>
                  <a:lnTo>
                    <a:pt x="6762465" y="4967785"/>
                  </a:lnTo>
                  <a:lnTo>
                    <a:pt x="6714698" y="4960961"/>
                  </a:lnTo>
                  <a:lnTo>
                    <a:pt x="6673755" y="4940490"/>
                  </a:lnTo>
                  <a:lnTo>
                    <a:pt x="6632812" y="4947314"/>
                  </a:lnTo>
                  <a:lnTo>
                    <a:pt x="6591868" y="4974609"/>
                  </a:lnTo>
                  <a:lnTo>
                    <a:pt x="6591868" y="4974609"/>
                  </a:lnTo>
                  <a:lnTo>
                    <a:pt x="6537277" y="5022376"/>
                  </a:lnTo>
                  <a:lnTo>
                    <a:pt x="6448567" y="5083791"/>
                  </a:lnTo>
                  <a:lnTo>
                    <a:pt x="6387152" y="5083791"/>
                  </a:lnTo>
                  <a:lnTo>
                    <a:pt x="6332561" y="5131558"/>
                  </a:lnTo>
                  <a:lnTo>
                    <a:pt x="6243850" y="5138382"/>
                  </a:lnTo>
                  <a:lnTo>
                    <a:pt x="6189259" y="5117911"/>
                  </a:lnTo>
                  <a:lnTo>
                    <a:pt x="6114197" y="5145206"/>
                  </a:lnTo>
                  <a:lnTo>
                    <a:pt x="6073253" y="5111087"/>
                  </a:lnTo>
                  <a:lnTo>
                    <a:pt x="6073253" y="5111087"/>
                  </a:lnTo>
                  <a:lnTo>
                    <a:pt x="5964071" y="5111087"/>
                  </a:lnTo>
                  <a:lnTo>
                    <a:pt x="5964071" y="5063320"/>
                  </a:lnTo>
                  <a:lnTo>
                    <a:pt x="5909480" y="5036024"/>
                  </a:lnTo>
                  <a:lnTo>
                    <a:pt x="5848065" y="5042848"/>
                  </a:lnTo>
                  <a:lnTo>
                    <a:pt x="5786650" y="5076967"/>
                  </a:lnTo>
                  <a:lnTo>
                    <a:pt x="5738883" y="5049672"/>
                  </a:lnTo>
                  <a:lnTo>
                    <a:pt x="5663820" y="5070144"/>
                  </a:lnTo>
                  <a:lnTo>
                    <a:pt x="5616053" y="5056496"/>
                  </a:lnTo>
                  <a:lnTo>
                    <a:pt x="5568286" y="5008729"/>
                  </a:lnTo>
                  <a:lnTo>
                    <a:pt x="5527343" y="4954138"/>
                  </a:lnTo>
                  <a:lnTo>
                    <a:pt x="5540991" y="4913194"/>
                  </a:lnTo>
                  <a:lnTo>
                    <a:pt x="5479576" y="4879075"/>
                  </a:lnTo>
                  <a:lnTo>
                    <a:pt x="5397689" y="4892723"/>
                  </a:lnTo>
                  <a:lnTo>
                    <a:pt x="5377217" y="4858603"/>
                  </a:lnTo>
                  <a:lnTo>
                    <a:pt x="5322626" y="4851779"/>
                  </a:lnTo>
                  <a:lnTo>
                    <a:pt x="5274859" y="4824484"/>
                  </a:lnTo>
                  <a:lnTo>
                    <a:pt x="5220268" y="4851779"/>
                  </a:lnTo>
                  <a:lnTo>
                    <a:pt x="5179325" y="4913194"/>
                  </a:lnTo>
                  <a:lnTo>
                    <a:pt x="5192973" y="4967785"/>
                  </a:lnTo>
                  <a:lnTo>
                    <a:pt x="5227092" y="5008729"/>
                  </a:lnTo>
                  <a:lnTo>
                    <a:pt x="5213444" y="5042848"/>
                  </a:lnTo>
                  <a:lnTo>
                    <a:pt x="5199797" y="5076967"/>
                  </a:lnTo>
                  <a:lnTo>
                    <a:pt x="5172501" y="5104263"/>
                  </a:lnTo>
                  <a:lnTo>
                    <a:pt x="5117910" y="5145206"/>
                  </a:lnTo>
                  <a:lnTo>
                    <a:pt x="5070143" y="5117911"/>
                  </a:lnTo>
                  <a:lnTo>
                    <a:pt x="5022376" y="5131558"/>
                  </a:lnTo>
                  <a:lnTo>
                    <a:pt x="4988256" y="5097439"/>
                  </a:lnTo>
                  <a:lnTo>
                    <a:pt x="4954137" y="5097439"/>
                  </a:lnTo>
                  <a:lnTo>
                    <a:pt x="4899546" y="5104263"/>
                  </a:lnTo>
                  <a:lnTo>
                    <a:pt x="4879074" y="5042848"/>
                  </a:lnTo>
                  <a:lnTo>
                    <a:pt x="4885898" y="5015553"/>
                  </a:lnTo>
                  <a:lnTo>
                    <a:pt x="4851779" y="4995081"/>
                  </a:lnTo>
                  <a:lnTo>
                    <a:pt x="4817659" y="4995081"/>
                  </a:lnTo>
                  <a:lnTo>
                    <a:pt x="4769892" y="5015553"/>
                  </a:lnTo>
                  <a:lnTo>
                    <a:pt x="4742597" y="5015553"/>
                  </a:lnTo>
                  <a:lnTo>
                    <a:pt x="4722125" y="4974609"/>
                  </a:lnTo>
                  <a:lnTo>
                    <a:pt x="4674358" y="4988257"/>
                  </a:lnTo>
                  <a:lnTo>
                    <a:pt x="4592471" y="5015553"/>
                  </a:lnTo>
                  <a:lnTo>
                    <a:pt x="4551528" y="5049672"/>
                  </a:lnTo>
                  <a:lnTo>
                    <a:pt x="4462817" y="5042848"/>
                  </a:lnTo>
                  <a:lnTo>
                    <a:pt x="4435522" y="5083791"/>
                  </a:lnTo>
                  <a:lnTo>
                    <a:pt x="4380931" y="5104263"/>
                  </a:lnTo>
                  <a:lnTo>
                    <a:pt x="4285397" y="5131558"/>
                  </a:lnTo>
                  <a:lnTo>
                    <a:pt x="4244453" y="5111087"/>
                  </a:lnTo>
                  <a:lnTo>
                    <a:pt x="4230806" y="5070144"/>
                  </a:lnTo>
                  <a:lnTo>
                    <a:pt x="4203510" y="5049672"/>
                  </a:lnTo>
                  <a:lnTo>
                    <a:pt x="4121623" y="5042848"/>
                  </a:lnTo>
                  <a:lnTo>
                    <a:pt x="4060209" y="5029200"/>
                  </a:lnTo>
                  <a:lnTo>
                    <a:pt x="4060209" y="4995081"/>
                  </a:lnTo>
                  <a:lnTo>
                    <a:pt x="4039737" y="4954138"/>
                  </a:lnTo>
                  <a:lnTo>
                    <a:pt x="4039737" y="4913194"/>
                  </a:lnTo>
                  <a:lnTo>
                    <a:pt x="3991970" y="4913194"/>
                  </a:lnTo>
                  <a:lnTo>
                    <a:pt x="3985146" y="4858603"/>
                  </a:lnTo>
                  <a:lnTo>
                    <a:pt x="3978322" y="4810836"/>
                  </a:lnTo>
                  <a:lnTo>
                    <a:pt x="3930555" y="4810836"/>
                  </a:lnTo>
                  <a:lnTo>
                    <a:pt x="3896435" y="4817660"/>
                  </a:lnTo>
                  <a:lnTo>
                    <a:pt x="3835020" y="4804012"/>
                  </a:lnTo>
                  <a:lnTo>
                    <a:pt x="3800901" y="4769893"/>
                  </a:lnTo>
                  <a:lnTo>
                    <a:pt x="3773606" y="4708478"/>
                  </a:lnTo>
                  <a:lnTo>
                    <a:pt x="3753134" y="4681182"/>
                  </a:lnTo>
                  <a:lnTo>
                    <a:pt x="3712191" y="4688006"/>
                  </a:lnTo>
                  <a:lnTo>
                    <a:pt x="3705367" y="4722126"/>
                  </a:lnTo>
                  <a:lnTo>
                    <a:pt x="3705367" y="4728950"/>
                  </a:lnTo>
                  <a:lnTo>
                    <a:pt x="3671247" y="4728950"/>
                  </a:lnTo>
                  <a:lnTo>
                    <a:pt x="3657600" y="4749421"/>
                  </a:lnTo>
                  <a:lnTo>
                    <a:pt x="3643952" y="4715302"/>
                  </a:lnTo>
                  <a:lnTo>
                    <a:pt x="3637128" y="4647063"/>
                  </a:lnTo>
                  <a:lnTo>
                    <a:pt x="3657600" y="4633415"/>
                  </a:lnTo>
                  <a:lnTo>
                    <a:pt x="3657600" y="4572000"/>
                  </a:lnTo>
                  <a:lnTo>
                    <a:pt x="3630304" y="4524233"/>
                  </a:lnTo>
                  <a:lnTo>
                    <a:pt x="3603009" y="4415051"/>
                  </a:lnTo>
                  <a:lnTo>
                    <a:pt x="3575713" y="4339988"/>
                  </a:lnTo>
                  <a:lnTo>
                    <a:pt x="3521122" y="4292221"/>
                  </a:lnTo>
                  <a:lnTo>
                    <a:pt x="3527946" y="4230806"/>
                  </a:lnTo>
                  <a:lnTo>
                    <a:pt x="3507474" y="4189863"/>
                  </a:lnTo>
                  <a:lnTo>
                    <a:pt x="3452883" y="4217158"/>
                  </a:lnTo>
                  <a:lnTo>
                    <a:pt x="3418764" y="4203511"/>
                  </a:lnTo>
                  <a:lnTo>
                    <a:pt x="3398292" y="4203511"/>
                  </a:lnTo>
                  <a:lnTo>
                    <a:pt x="3364173" y="4237630"/>
                  </a:lnTo>
                  <a:lnTo>
                    <a:pt x="3343701" y="4217158"/>
                  </a:lnTo>
                  <a:lnTo>
                    <a:pt x="3302758" y="4210335"/>
                  </a:lnTo>
                  <a:lnTo>
                    <a:pt x="3302758" y="4210335"/>
                  </a:lnTo>
                  <a:lnTo>
                    <a:pt x="3302758" y="4210335"/>
                  </a:lnTo>
                  <a:lnTo>
                    <a:pt x="3248167" y="4148920"/>
                  </a:lnTo>
                  <a:lnTo>
                    <a:pt x="3173104" y="4114800"/>
                  </a:lnTo>
                  <a:lnTo>
                    <a:pt x="3173104" y="4114800"/>
                  </a:lnTo>
                  <a:lnTo>
                    <a:pt x="3152632" y="4060209"/>
                  </a:lnTo>
                  <a:lnTo>
                    <a:pt x="3152632" y="4060209"/>
                  </a:lnTo>
                  <a:lnTo>
                    <a:pt x="3159456" y="3991970"/>
                  </a:lnTo>
                  <a:lnTo>
                    <a:pt x="3145809" y="3944203"/>
                  </a:lnTo>
                  <a:lnTo>
                    <a:pt x="3179928" y="3930555"/>
                  </a:lnTo>
                  <a:lnTo>
                    <a:pt x="3173104" y="3903260"/>
                  </a:lnTo>
                  <a:lnTo>
                    <a:pt x="3132161" y="3896436"/>
                  </a:lnTo>
                  <a:lnTo>
                    <a:pt x="3098041" y="3896436"/>
                  </a:lnTo>
                  <a:lnTo>
                    <a:pt x="3091217" y="3855493"/>
                  </a:lnTo>
                  <a:lnTo>
                    <a:pt x="3057098" y="3841845"/>
                  </a:lnTo>
                  <a:lnTo>
                    <a:pt x="3029803" y="3835021"/>
                  </a:lnTo>
                  <a:lnTo>
                    <a:pt x="2975212" y="3848669"/>
                  </a:lnTo>
                  <a:lnTo>
                    <a:pt x="2893325" y="3841845"/>
                  </a:lnTo>
                  <a:lnTo>
                    <a:pt x="2859206" y="3807726"/>
                  </a:lnTo>
                  <a:lnTo>
                    <a:pt x="2859206" y="3807726"/>
                  </a:lnTo>
                  <a:lnTo>
                    <a:pt x="2797791" y="3821373"/>
                  </a:lnTo>
                  <a:lnTo>
                    <a:pt x="2763671" y="3821373"/>
                  </a:lnTo>
                  <a:lnTo>
                    <a:pt x="2736376" y="3787254"/>
                  </a:lnTo>
                  <a:lnTo>
                    <a:pt x="2647665" y="3773606"/>
                  </a:lnTo>
                  <a:lnTo>
                    <a:pt x="2572603" y="3732663"/>
                  </a:lnTo>
                  <a:lnTo>
                    <a:pt x="2518012" y="3739487"/>
                  </a:lnTo>
                  <a:lnTo>
                    <a:pt x="2477068" y="3712191"/>
                  </a:lnTo>
                  <a:lnTo>
                    <a:pt x="2436125" y="3671248"/>
                  </a:lnTo>
                  <a:lnTo>
                    <a:pt x="2408829" y="3684896"/>
                  </a:lnTo>
                  <a:lnTo>
                    <a:pt x="2436125" y="3739487"/>
                  </a:lnTo>
                  <a:lnTo>
                    <a:pt x="2402006" y="3753135"/>
                  </a:lnTo>
                  <a:lnTo>
                    <a:pt x="2402006" y="3753135"/>
                  </a:lnTo>
                  <a:lnTo>
                    <a:pt x="2436125" y="3821373"/>
                  </a:lnTo>
                  <a:lnTo>
                    <a:pt x="2374710" y="3855493"/>
                  </a:lnTo>
                  <a:lnTo>
                    <a:pt x="2374710" y="3855493"/>
                  </a:lnTo>
                  <a:lnTo>
                    <a:pt x="2333767" y="3814550"/>
                  </a:lnTo>
                  <a:lnTo>
                    <a:pt x="2292823" y="3855493"/>
                  </a:lnTo>
                  <a:lnTo>
                    <a:pt x="2292823" y="3855493"/>
                  </a:lnTo>
                  <a:lnTo>
                    <a:pt x="2231409" y="3882788"/>
                  </a:lnTo>
                  <a:lnTo>
                    <a:pt x="2231409" y="3882788"/>
                  </a:lnTo>
                  <a:lnTo>
                    <a:pt x="2238232" y="3971499"/>
                  </a:lnTo>
                  <a:lnTo>
                    <a:pt x="2272352" y="4019266"/>
                  </a:lnTo>
                  <a:lnTo>
                    <a:pt x="2204113" y="4046561"/>
                  </a:lnTo>
                  <a:lnTo>
                    <a:pt x="2204113" y="4046561"/>
                  </a:lnTo>
                  <a:lnTo>
                    <a:pt x="2135874" y="4005618"/>
                  </a:lnTo>
                  <a:lnTo>
                    <a:pt x="2067635" y="3998794"/>
                  </a:lnTo>
                  <a:lnTo>
                    <a:pt x="2013044" y="3964675"/>
                  </a:lnTo>
                  <a:lnTo>
                    <a:pt x="1972101" y="3910084"/>
                  </a:lnTo>
                  <a:lnTo>
                    <a:pt x="1985749" y="3882788"/>
                  </a:lnTo>
                  <a:lnTo>
                    <a:pt x="1965277" y="3862317"/>
                  </a:lnTo>
                  <a:lnTo>
                    <a:pt x="1931158" y="3869141"/>
                  </a:lnTo>
                  <a:lnTo>
                    <a:pt x="1897038" y="3821373"/>
                  </a:lnTo>
                  <a:lnTo>
                    <a:pt x="1862919" y="3800902"/>
                  </a:lnTo>
                  <a:lnTo>
                    <a:pt x="1862919" y="3800902"/>
                  </a:lnTo>
                  <a:lnTo>
                    <a:pt x="1767385" y="3794078"/>
                  </a:lnTo>
                  <a:lnTo>
                    <a:pt x="1767385" y="3759958"/>
                  </a:lnTo>
                  <a:lnTo>
                    <a:pt x="1767385" y="3759958"/>
                  </a:lnTo>
                  <a:lnTo>
                    <a:pt x="1726441" y="3712191"/>
                  </a:lnTo>
                  <a:lnTo>
                    <a:pt x="1712794" y="3739487"/>
                  </a:lnTo>
                  <a:lnTo>
                    <a:pt x="1712794" y="3739487"/>
                  </a:lnTo>
                  <a:lnTo>
                    <a:pt x="1678674" y="3678072"/>
                  </a:lnTo>
                  <a:lnTo>
                    <a:pt x="1699146" y="3643953"/>
                  </a:lnTo>
                  <a:lnTo>
                    <a:pt x="1705970" y="3589361"/>
                  </a:lnTo>
                  <a:lnTo>
                    <a:pt x="1665026" y="3548418"/>
                  </a:lnTo>
                  <a:lnTo>
                    <a:pt x="1665026" y="3548418"/>
                  </a:lnTo>
                  <a:lnTo>
                    <a:pt x="1637731" y="3493827"/>
                  </a:lnTo>
                  <a:lnTo>
                    <a:pt x="1603612" y="3473355"/>
                  </a:lnTo>
                  <a:lnTo>
                    <a:pt x="1596788" y="3487003"/>
                  </a:lnTo>
                  <a:lnTo>
                    <a:pt x="1562668" y="3480179"/>
                  </a:lnTo>
                  <a:lnTo>
                    <a:pt x="1569492" y="3432412"/>
                  </a:lnTo>
                  <a:lnTo>
                    <a:pt x="1542197" y="3411941"/>
                  </a:lnTo>
                  <a:lnTo>
                    <a:pt x="1460310" y="3405117"/>
                  </a:lnTo>
                  <a:lnTo>
                    <a:pt x="1419367" y="3405117"/>
                  </a:lnTo>
                  <a:lnTo>
                    <a:pt x="1364776" y="3405117"/>
                  </a:lnTo>
                  <a:lnTo>
                    <a:pt x="1351128" y="3432412"/>
                  </a:lnTo>
                  <a:lnTo>
                    <a:pt x="1323832" y="3418764"/>
                  </a:lnTo>
                  <a:lnTo>
                    <a:pt x="1303361" y="3446060"/>
                  </a:lnTo>
                  <a:lnTo>
                    <a:pt x="1262417" y="3459708"/>
                  </a:lnTo>
                  <a:lnTo>
                    <a:pt x="1262417" y="3459708"/>
                  </a:lnTo>
                  <a:lnTo>
                    <a:pt x="1221474" y="3398293"/>
                  </a:lnTo>
                  <a:lnTo>
                    <a:pt x="1221474" y="3398293"/>
                  </a:lnTo>
                  <a:lnTo>
                    <a:pt x="1187355" y="3364173"/>
                  </a:lnTo>
                  <a:lnTo>
                    <a:pt x="1125940" y="3377821"/>
                  </a:lnTo>
                  <a:lnTo>
                    <a:pt x="1084997" y="3398293"/>
                  </a:lnTo>
                  <a:lnTo>
                    <a:pt x="1016758" y="3459708"/>
                  </a:lnTo>
                  <a:lnTo>
                    <a:pt x="1016758" y="3452884"/>
                  </a:lnTo>
                  <a:lnTo>
                    <a:pt x="962167" y="3452884"/>
                  </a:lnTo>
                  <a:lnTo>
                    <a:pt x="962167" y="3521123"/>
                  </a:lnTo>
                  <a:lnTo>
                    <a:pt x="962167" y="3521123"/>
                  </a:lnTo>
                  <a:lnTo>
                    <a:pt x="989462" y="3568890"/>
                  </a:lnTo>
                  <a:lnTo>
                    <a:pt x="1009934" y="3596185"/>
                  </a:lnTo>
                  <a:lnTo>
                    <a:pt x="982638" y="3643953"/>
                  </a:lnTo>
                  <a:lnTo>
                    <a:pt x="1009934" y="3671248"/>
                  </a:lnTo>
                  <a:lnTo>
                    <a:pt x="989462" y="3719015"/>
                  </a:lnTo>
                  <a:lnTo>
                    <a:pt x="996286" y="3739487"/>
                  </a:lnTo>
                  <a:lnTo>
                    <a:pt x="962167" y="3794078"/>
                  </a:lnTo>
                  <a:lnTo>
                    <a:pt x="989462" y="3828197"/>
                  </a:lnTo>
                  <a:lnTo>
                    <a:pt x="962167" y="3862317"/>
                  </a:lnTo>
                  <a:lnTo>
                    <a:pt x="900752" y="3869141"/>
                  </a:lnTo>
                  <a:lnTo>
                    <a:pt x="839337" y="3814550"/>
                  </a:lnTo>
                  <a:lnTo>
                    <a:pt x="791570" y="3828197"/>
                  </a:lnTo>
                  <a:lnTo>
                    <a:pt x="709683" y="3821373"/>
                  </a:lnTo>
                  <a:lnTo>
                    <a:pt x="709683" y="3821373"/>
                  </a:lnTo>
                  <a:lnTo>
                    <a:pt x="607325" y="3862317"/>
                  </a:lnTo>
                  <a:lnTo>
                    <a:pt x="607325" y="3862317"/>
                  </a:lnTo>
                  <a:lnTo>
                    <a:pt x="614149" y="3957851"/>
                  </a:lnTo>
                  <a:lnTo>
                    <a:pt x="573206" y="3991970"/>
                  </a:lnTo>
                  <a:lnTo>
                    <a:pt x="593677" y="4046561"/>
                  </a:lnTo>
                  <a:lnTo>
                    <a:pt x="545910" y="4073857"/>
                  </a:lnTo>
                  <a:lnTo>
                    <a:pt x="511791" y="4101153"/>
                  </a:lnTo>
                  <a:lnTo>
                    <a:pt x="511791" y="4155744"/>
                  </a:lnTo>
                  <a:lnTo>
                    <a:pt x="504967" y="4244454"/>
                  </a:lnTo>
                  <a:lnTo>
                    <a:pt x="477671" y="4271750"/>
                  </a:lnTo>
                  <a:lnTo>
                    <a:pt x="477671" y="4271750"/>
                  </a:lnTo>
                  <a:lnTo>
                    <a:pt x="375313" y="4292221"/>
                  </a:lnTo>
                  <a:lnTo>
                    <a:pt x="348017" y="4271750"/>
                  </a:lnTo>
                  <a:lnTo>
                    <a:pt x="320722" y="4237630"/>
                  </a:lnTo>
                  <a:lnTo>
                    <a:pt x="300250" y="4183039"/>
                  </a:lnTo>
                  <a:lnTo>
                    <a:pt x="313898" y="4135272"/>
                  </a:lnTo>
                  <a:lnTo>
                    <a:pt x="293426" y="4101153"/>
                  </a:lnTo>
                  <a:lnTo>
                    <a:pt x="279779" y="4039738"/>
                  </a:lnTo>
                  <a:lnTo>
                    <a:pt x="279779" y="4039738"/>
                  </a:lnTo>
                  <a:lnTo>
                    <a:pt x="286603" y="3944203"/>
                  </a:lnTo>
                  <a:lnTo>
                    <a:pt x="286603" y="3944203"/>
                  </a:lnTo>
                  <a:lnTo>
                    <a:pt x="245659" y="3882788"/>
                  </a:lnTo>
                  <a:lnTo>
                    <a:pt x="225188" y="3855493"/>
                  </a:lnTo>
                  <a:lnTo>
                    <a:pt x="197892" y="3835021"/>
                  </a:lnTo>
                  <a:lnTo>
                    <a:pt x="191068" y="3780430"/>
                  </a:lnTo>
                  <a:lnTo>
                    <a:pt x="177420" y="3725839"/>
                  </a:lnTo>
                  <a:lnTo>
                    <a:pt x="177420" y="3691720"/>
                  </a:lnTo>
                  <a:lnTo>
                    <a:pt x="143301" y="3657600"/>
                  </a:lnTo>
                  <a:lnTo>
                    <a:pt x="116006" y="3616657"/>
                  </a:lnTo>
                  <a:lnTo>
                    <a:pt x="102358" y="3603009"/>
                  </a:lnTo>
                  <a:lnTo>
                    <a:pt x="102358" y="3568890"/>
                  </a:lnTo>
                  <a:lnTo>
                    <a:pt x="88710" y="3534770"/>
                  </a:lnTo>
                  <a:lnTo>
                    <a:pt x="75062" y="3500651"/>
                  </a:lnTo>
                  <a:lnTo>
                    <a:pt x="75062" y="3500651"/>
                  </a:lnTo>
                  <a:lnTo>
                    <a:pt x="6823" y="3473355"/>
                  </a:lnTo>
                  <a:lnTo>
                    <a:pt x="6823" y="3473355"/>
                  </a:lnTo>
                  <a:lnTo>
                    <a:pt x="27295" y="3391469"/>
                  </a:lnTo>
                  <a:lnTo>
                    <a:pt x="27295" y="3391469"/>
                  </a:lnTo>
                  <a:lnTo>
                    <a:pt x="6823" y="3282287"/>
                  </a:lnTo>
                  <a:lnTo>
                    <a:pt x="6823" y="3282287"/>
                  </a:lnTo>
                  <a:lnTo>
                    <a:pt x="0" y="3166281"/>
                  </a:lnTo>
                  <a:lnTo>
                    <a:pt x="27295" y="3125338"/>
                  </a:lnTo>
                  <a:lnTo>
                    <a:pt x="0" y="3077570"/>
                  </a:lnTo>
                  <a:lnTo>
                    <a:pt x="34119" y="3043451"/>
                  </a:lnTo>
                  <a:lnTo>
                    <a:pt x="34119" y="3043451"/>
                  </a:lnTo>
                  <a:lnTo>
                    <a:pt x="122829" y="3057099"/>
                  </a:lnTo>
                  <a:lnTo>
                    <a:pt x="184244" y="3057099"/>
                  </a:lnTo>
                  <a:lnTo>
                    <a:pt x="211540" y="3009332"/>
                  </a:lnTo>
                  <a:lnTo>
                    <a:pt x="320722" y="3022979"/>
                  </a:lnTo>
                  <a:lnTo>
                    <a:pt x="334370" y="3002508"/>
                  </a:lnTo>
                  <a:lnTo>
                    <a:pt x="375313" y="2982036"/>
                  </a:lnTo>
                  <a:lnTo>
                    <a:pt x="436728" y="3009332"/>
                  </a:lnTo>
                  <a:lnTo>
                    <a:pt x="470847" y="2982036"/>
                  </a:lnTo>
                  <a:lnTo>
                    <a:pt x="518615" y="3009332"/>
                  </a:lnTo>
                  <a:lnTo>
                    <a:pt x="559558" y="2975212"/>
                  </a:lnTo>
                  <a:lnTo>
                    <a:pt x="593677" y="2947917"/>
                  </a:lnTo>
                  <a:lnTo>
                    <a:pt x="655092" y="2927445"/>
                  </a:lnTo>
                  <a:lnTo>
                    <a:pt x="655092" y="2886502"/>
                  </a:lnTo>
                  <a:lnTo>
                    <a:pt x="668740" y="2866030"/>
                  </a:lnTo>
                  <a:lnTo>
                    <a:pt x="641444" y="2818263"/>
                  </a:lnTo>
                  <a:lnTo>
                    <a:pt x="627797" y="2777320"/>
                  </a:lnTo>
                  <a:lnTo>
                    <a:pt x="593677" y="2750024"/>
                  </a:lnTo>
                  <a:lnTo>
                    <a:pt x="614149" y="2709081"/>
                  </a:lnTo>
                  <a:lnTo>
                    <a:pt x="634620" y="2654490"/>
                  </a:lnTo>
                  <a:lnTo>
                    <a:pt x="634620" y="2654490"/>
                  </a:lnTo>
                  <a:lnTo>
                    <a:pt x="586853" y="2613547"/>
                  </a:lnTo>
                  <a:lnTo>
                    <a:pt x="586853" y="2613547"/>
                  </a:lnTo>
                  <a:lnTo>
                    <a:pt x="580029" y="2511188"/>
                  </a:lnTo>
                  <a:lnTo>
                    <a:pt x="614149" y="2490717"/>
                  </a:lnTo>
                  <a:lnTo>
                    <a:pt x="593677" y="2456597"/>
                  </a:lnTo>
                  <a:lnTo>
                    <a:pt x="580029" y="2388358"/>
                  </a:lnTo>
                  <a:lnTo>
                    <a:pt x="607325" y="2333767"/>
                  </a:lnTo>
                  <a:lnTo>
                    <a:pt x="682388" y="2251881"/>
                  </a:lnTo>
                  <a:lnTo>
                    <a:pt x="682388" y="2251881"/>
                  </a:lnTo>
                  <a:lnTo>
                    <a:pt x="634620" y="2169994"/>
                  </a:lnTo>
                  <a:lnTo>
                    <a:pt x="614149" y="2067636"/>
                  </a:lnTo>
                  <a:lnTo>
                    <a:pt x="655092" y="2019869"/>
                  </a:lnTo>
                  <a:lnTo>
                    <a:pt x="723331" y="2006221"/>
                  </a:lnTo>
                  <a:lnTo>
                    <a:pt x="764274" y="2047164"/>
                  </a:lnTo>
                  <a:lnTo>
                    <a:pt x="784746" y="1958454"/>
                  </a:lnTo>
                  <a:lnTo>
                    <a:pt x="832513" y="1910687"/>
                  </a:lnTo>
                  <a:lnTo>
                    <a:pt x="921223" y="1856096"/>
                  </a:lnTo>
                  <a:lnTo>
                    <a:pt x="914400" y="1794681"/>
                  </a:lnTo>
                  <a:lnTo>
                    <a:pt x="914400" y="1726442"/>
                  </a:lnTo>
                  <a:lnTo>
                    <a:pt x="846161" y="1624084"/>
                  </a:lnTo>
                  <a:lnTo>
                    <a:pt x="866632" y="1569493"/>
                  </a:lnTo>
                  <a:lnTo>
                    <a:pt x="934871" y="1555845"/>
                  </a:lnTo>
                  <a:lnTo>
                    <a:pt x="934871" y="1555845"/>
                  </a:lnTo>
                  <a:lnTo>
                    <a:pt x="1016758" y="1460311"/>
                  </a:lnTo>
                  <a:lnTo>
                    <a:pt x="1119116" y="1467135"/>
                  </a:lnTo>
                  <a:lnTo>
                    <a:pt x="1146412" y="1419367"/>
                  </a:lnTo>
                  <a:lnTo>
                    <a:pt x="1214650" y="1412544"/>
                  </a:lnTo>
                  <a:lnTo>
                    <a:pt x="1262417" y="1385248"/>
                  </a:lnTo>
                  <a:lnTo>
                    <a:pt x="1303361" y="1378424"/>
                  </a:lnTo>
                  <a:lnTo>
                    <a:pt x="1351128" y="1398896"/>
                  </a:lnTo>
                  <a:lnTo>
                    <a:pt x="1351128" y="1398896"/>
                  </a:lnTo>
                  <a:lnTo>
                    <a:pt x="1433015" y="1419367"/>
                  </a:lnTo>
                  <a:lnTo>
                    <a:pt x="1439838" y="1371600"/>
                  </a:lnTo>
                  <a:lnTo>
                    <a:pt x="1439838" y="1371600"/>
                  </a:lnTo>
                  <a:lnTo>
                    <a:pt x="1405719" y="1296538"/>
                  </a:lnTo>
                  <a:close/>
                </a:path>
              </a:pathLst>
            </a:cu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36" name="Группа 35"/>
            <p:cNvGrpSpPr/>
            <p:nvPr/>
          </p:nvGrpSpPr>
          <p:grpSpPr>
            <a:xfrm>
              <a:off x="947621" y="1428322"/>
              <a:ext cx="9061689" cy="4517762"/>
              <a:chOff x="673614" y="1080687"/>
              <a:chExt cx="9633790" cy="4769739"/>
            </a:xfrm>
            <a:noFill/>
          </p:grpSpPr>
          <p:sp>
            <p:nvSpPr>
              <p:cNvPr id="37" name="Овал 36"/>
              <p:cNvSpPr/>
              <p:nvPr/>
            </p:nvSpPr>
            <p:spPr>
              <a:xfrm>
                <a:off x="6048871" y="5670426"/>
                <a:ext cx="180000" cy="180000"/>
              </a:xfrm>
              <a:prstGeom prst="ellipse">
                <a:avLst/>
              </a:prstGeom>
              <a:ln/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8" name="Овал 37"/>
              <p:cNvSpPr/>
              <p:nvPr/>
            </p:nvSpPr>
            <p:spPr>
              <a:xfrm>
                <a:off x="8785175" y="5310386"/>
                <a:ext cx="180000" cy="180000"/>
              </a:xfrm>
              <a:prstGeom prst="ellipse">
                <a:avLst/>
              </a:prstGeom>
              <a:ln/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9" name="Овал 38"/>
              <p:cNvSpPr/>
              <p:nvPr/>
            </p:nvSpPr>
            <p:spPr>
              <a:xfrm>
                <a:off x="5083260" y="5094362"/>
                <a:ext cx="180000" cy="180000"/>
              </a:xfrm>
              <a:prstGeom prst="ellipse">
                <a:avLst/>
              </a:prstGeom>
              <a:grpFill/>
              <a:ln>
                <a:solidFill>
                  <a:srgbClr val="FF0000"/>
                </a:solidFill>
              </a:ln>
              <a:effectLst/>
              <a:sp3d extrusionH="254000">
                <a:bevelT/>
                <a:extrusionClr>
                  <a:srgbClr val="FF0000"/>
                </a:extrusionClr>
              </a:sp3d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0" name="Овал 39"/>
              <p:cNvSpPr/>
              <p:nvPr/>
            </p:nvSpPr>
            <p:spPr>
              <a:xfrm>
                <a:off x="4320679" y="5126908"/>
                <a:ext cx="180000" cy="180000"/>
              </a:xfrm>
              <a:prstGeom prst="ellipse">
                <a:avLst/>
              </a:prstGeom>
              <a:grpFill/>
              <a:ln>
                <a:solidFill>
                  <a:srgbClr val="FF0000"/>
                </a:solidFill>
              </a:ln>
              <a:effectLst/>
              <a:sp3d extrusionH="254000">
                <a:bevelT/>
                <a:extrusionClr>
                  <a:srgbClr val="FF0000"/>
                </a:extrusionClr>
              </a:sp3d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1" name="Овал 40"/>
              <p:cNvSpPr/>
              <p:nvPr/>
            </p:nvSpPr>
            <p:spPr>
              <a:xfrm>
                <a:off x="2808511" y="4158258"/>
                <a:ext cx="180000" cy="180000"/>
              </a:xfrm>
              <a:prstGeom prst="ellipse">
                <a:avLst/>
              </a:prstGeom>
              <a:grpFill/>
              <a:ln>
                <a:solidFill>
                  <a:srgbClr val="FF0000"/>
                </a:solidFill>
              </a:ln>
              <a:effectLst/>
              <a:sp3d extrusionH="254000">
                <a:bevelT/>
                <a:extrusionClr>
                  <a:srgbClr val="FF0000"/>
                </a:extrusionClr>
              </a:sp3d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2" name="Овал 41"/>
              <p:cNvSpPr/>
              <p:nvPr/>
            </p:nvSpPr>
            <p:spPr>
              <a:xfrm>
                <a:off x="2774045" y="4446290"/>
                <a:ext cx="180000" cy="180000"/>
              </a:xfrm>
              <a:prstGeom prst="ellipse">
                <a:avLst/>
              </a:prstGeom>
              <a:grpFill/>
              <a:ln>
                <a:solidFill>
                  <a:srgbClr val="FF0000"/>
                </a:solidFill>
              </a:ln>
              <a:effectLst/>
              <a:sp3d extrusionH="254000">
                <a:bevelT/>
                <a:extrusionClr>
                  <a:srgbClr val="FF0000"/>
                </a:extrusionClr>
              </a:sp3d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3" name="Овал 42"/>
              <p:cNvSpPr/>
              <p:nvPr/>
            </p:nvSpPr>
            <p:spPr>
              <a:xfrm>
                <a:off x="1728391" y="3438198"/>
                <a:ext cx="180000" cy="180000"/>
              </a:xfrm>
              <a:prstGeom prst="ellipse">
                <a:avLst/>
              </a:prstGeom>
              <a:grpFill/>
              <a:ln>
                <a:solidFill>
                  <a:srgbClr val="FF0000"/>
                </a:solidFill>
              </a:ln>
              <a:effectLst/>
              <a:sp3d extrusionH="254000">
                <a:bevelT/>
                <a:extrusionClr>
                  <a:srgbClr val="FF0000"/>
                </a:extrusionClr>
              </a:sp3d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4" name="Овал 43"/>
              <p:cNvSpPr/>
              <p:nvPr/>
            </p:nvSpPr>
            <p:spPr>
              <a:xfrm>
                <a:off x="1748169" y="3006130"/>
                <a:ext cx="180000" cy="180000"/>
              </a:xfrm>
              <a:prstGeom prst="ellipse">
                <a:avLst/>
              </a:prstGeom>
              <a:grpFill/>
              <a:ln>
                <a:solidFill>
                  <a:srgbClr val="FF0000"/>
                </a:solidFill>
              </a:ln>
              <a:effectLst/>
              <a:sp3d extrusionH="254000">
                <a:bevelT/>
                <a:extrusionClr>
                  <a:srgbClr val="FF0000"/>
                </a:extrusionClr>
              </a:sp3d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5" name="Овал 44"/>
              <p:cNvSpPr/>
              <p:nvPr/>
            </p:nvSpPr>
            <p:spPr>
              <a:xfrm>
                <a:off x="1404375" y="3042154"/>
                <a:ext cx="180000" cy="180000"/>
              </a:xfrm>
              <a:prstGeom prst="ellipse">
                <a:avLst/>
              </a:prstGeom>
              <a:grpFill/>
              <a:ln>
                <a:solidFill>
                  <a:srgbClr val="FF0000"/>
                </a:solidFill>
              </a:ln>
              <a:effectLst/>
              <a:sp3d extrusionH="254000">
                <a:bevelT/>
                <a:extrusionClr>
                  <a:srgbClr val="FF0000"/>
                </a:extrusionClr>
              </a:sp3d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6" name="Овал 45"/>
              <p:cNvSpPr/>
              <p:nvPr/>
            </p:nvSpPr>
            <p:spPr>
              <a:xfrm>
                <a:off x="1035607" y="3528198"/>
                <a:ext cx="180000" cy="180000"/>
              </a:xfrm>
              <a:prstGeom prst="ellipse">
                <a:avLst/>
              </a:prstGeom>
              <a:grpFill/>
              <a:ln>
                <a:solidFill>
                  <a:srgbClr val="FF0000"/>
                </a:solidFill>
              </a:ln>
              <a:effectLst/>
              <a:sp3d extrusionH="254000">
                <a:bevelT/>
                <a:extrusionClr>
                  <a:srgbClr val="FF0000"/>
                </a:extrusionClr>
              </a:sp3d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7" name="Овал 46"/>
              <p:cNvSpPr/>
              <p:nvPr/>
            </p:nvSpPr>
            <p:spPr>
              <a:xfrm>
                <a:off x="1460264" y="3942234"/>
                <a:ext cx="180000" cy="180000"/>
              </a:xfrm>
              <a:prstGeom prst="ellipse">
                <a:avLst/>
              </a:prstGeom>
              <a:grpFill/>
              <a:ln>
                <a:solidFill>
                  <a:srgbClr val="FF0000"/>
                </a:solidFill>
              </a:ln>
              <a:effectLst/>
              <a:sp3d extrusionH="254000">
                <a:bevelT/>
                <a:extrusionClr>
                  <a:srgbClr val="FF0000"/>
                </a:extrusionClr>
              </a:sp3d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8" name="Полилиния 47"/>
              <p:cNvSpPr/>
              <p:nvPr/>
            </p:nvSpPr>
            <p:spPr>
              <a:xfrm>
                <a:off x="8943082" y="4362974"/>
                <a:ext cx="925790" cy="1166884"/>
              </a:xfrm>
              <a:custGeom>
                <a:avLst/>
                <a:gdLst>
                  <a:gd name="connsiteX0" fmla="*/ 40943 w 907576"/>
                  <a:gd name="connsiteY0" fmla="*/ 129654 h 1166884"/>
                  <a:gd name="connsiteX1" fmla="*/ 68239 w 907576"/>
                  <a:gd name="connsiteY1" fmla="*/ 75063 h 1166884"/>
                  <a:gd name="connsiteX2" fmla="*/ 27295 w 907576"/>
                  <a:gd name="connsiteY2" fmla="*/ 68239 h 1166884"/>
                  <a:gd name="connsiteX3" fmla="*/ 0 w 907576"/>
                  <a:gd name="connsiteY3" fmla="*/ 34119 h 1166884"/>
                  <a:gd name="connsiteX4" fmla="*/ 13648 w 907576"/>
                  <a:gd name="connsiteY4" fmla="*/ 0 h 1166884"/>
                  <a:gd name="connsiteX5" fmla="*/ 61415 w 907576"/>
                  <a:gd name="connsiteY5" fmla="*/ 6824 h 1166884"/>
                  <a:gd name="connsiteX6" fmla="*/ 102358 w 907576"/>
                  <a:gd name="connsiteY6" fmla="*/ 40943 h 1166884"/>
                  <a:gd name="connsiteX7" fmla="*/ 150125 w 907576"/>
                  <a:gd name="connsiteY7" fmla="*/ 54591 h 1166884"/>
                  <a:gd name="connsiteX8" fmla="*/ 184245 w 907576"/>
                  <a:gd name="connsiteY8" fmla="*/ 95534 h 1166884"/>
                  <a:gd name="connsiteX9" fmla="*/ 218364 w 907576"/>
                  <a:gd name="connsiteY9" fmla="*/ 129654 h 1166884"/>
                  <a:gd name="connsiteX10" fmla="*/ 266131 w 907576"/>
                  <a:gd name="connsiteY10" fmla="*/ 170597 h 1166884"/>
                  <a:gd name="connsiteX11" fmla="*/ 266131 w 907576"/>
                  <a:gd name="connsiteY11" fmla="*/ 170597 h 1166884"/>
                  <a:gd name="connsiteX12" fmla="*/ 266131 w 907576"/>
                  <a:gd name="connsiteY12" fmla="*/ 252484 h 1166884"/>
                  <a:gd name="connsiteX13" fmla="*/ 300251 w 907576"/>
                  <a:gd name="connsiteY13" fmla="*/ 300251 h 1166884"/>
                  <a:gd name="connsiteX14" fmla="*/ 354842 w 907576"/>
                  <a:gd name="connsiteY14" fmla="*/ 300251 h 1166884"/>
                  <a:gd name="connsiteX15" fmla="*/ 416257 w 907576"/>
                  <a:gd name="connsiteY15" fmla="*/ 354842 h 1166884"/>
                  <a:gd name="connsiteX16" fmla="*/ 504967 w 907576"/>
                  <a:gd name="connsiteY16" fmla="*/ 429904 h 1166884"/>
                  <a:gd name="connsiteX17" fmla="*/ 593677 w 907576"/>
                  <a:gd name="connsiteY17" fmla="*/ 491319 h 1166884"/>
                  <a:gd name="connsiteX18" fmla="*/ 655092 w 907576"/>
                  <a:gd name="connsiteY18" fmla="*/ 545910 h 1166884"/>
                  <a:gd name="connsiteX19" fmla="*/ 723331 w 907576"/>
                  <a:gd name="connsiteY19" fmla="*/ 566382 h 1166884"/>
                  <a:gd name="connsiteX20" fmla="*/ 764274 w 907576"/>
                  <a:gd name="connsiteY20" fmla="*/ 600501 h 1166884"/>
                  <a:gd name="connsiteX21" fmla="*/ 750627 w 907576"/>
                  <a:gd name="connsiteY21" fmla="*/ 620973 h 1166884"/>
                  <a:gd name="connsiteX22" fmla="*/ 723331 w 907576"/>
                  <a:gd name="connsiteY22" fmla="*/ 634621 h 1166884"/>
                  <a:gd name="connsiteX23" fmla="*/ 682388 w 907576"/>
                  <a:gd name="connsiteY23" fmla="*/ 614149 h 1166884"/>
                  <a:gd name="connsiteX24" fmla="*/ 620973 w 907576"/>
                  <a:gd name="connsiteY24" fmla="*/ 627797 h 1166884"/>
                  <a:gd name="connsiteX25" fmla="*/ 600501 w 907576"/>
                  <a:gd name="connsiteY25" fmla="*/ 668740 h 1166884"/>
                  <a:gd name="connsiteX26" fmla="*/ 627797 w 907576"/>
                  <a:gd name="connsiteY26" fmla="*/ 736979 h 1166884"/>
                  <a:gd name="connsiteX27" fmla="*/ 641445 w 907576"/>
                  <a:gd name="connsiteY27" fmla="*/ 798394 h 1166884"/>
                  <a:gd name="connsiteX28" fmla="*/ 675564 w 907576"/>
                  <a:gd name="connsiteY28" fmla="*/ 887104 h 1166884"/>
                  <a:gd name="connsiteX29" fmla="*/ 723331 w 907576"/>
                  <a:gd name="connsiteY29" fmla="*/ 900752 h 1166884"/>
                  <a:gd name="connsiteX30" fmla="*/ 798394 w 907576"/>
                  <a:gd name="connsiteY30" fmla="*/ 955343 h 1166884"/>
                  <a:gd name="connsiteX31" fmla="*/ 832513 w 907576"/>
                  <a:gd name="connsiteY31" fmla="*/ 955343 h 1166884"/>
                  <a:gd name="connsiteX32" fmla="*/ 866633 w 907576"/>
                  <a:gd name="connsiteY32" fmla="*/ 948519 h 1166884"/>
                  <a:gd name="connsiteX33" fmla="*/ 893928 w 907576"/>
                  <a:gd name="connsiteY33" fmla="*/ 1003110 h 1166884"/>
                  <a:gd name="connsiteX34" fmla="*/ 907576 w 907576"/>
                  <a:gd name="connsiteY34" fmla="*/ 1030406 h 1166884"/>
                  <a:gd name="connsiteX35" fmla="*/ 887104 w 907576"/>
                  <a:gd name="connsiteY35" fmla="*/ 1057701 h 1166884"/>
                  <a:gd name="connsiteX36" fmla="*/ 873457 w 907576"/>
                  <a:gd name="connsiteY36" fmla="*/ 1044054 h 1166884"/>
                  <a:gd name="connsiteX37" fmla="*/ 839337 w 907576"/>
                  <a:gd name="connsiteY37" fmla="*/ 1023582 h 1166884"/>
                  <a:gd name="connsiteX38" fmla="*/ 812042 w 907576"/>
                  <a:gd name="connsiteY38" fmla="*/ 1030406 h 1166884"/>
                  <a:gd name="connsiteX39" fmla="*/ 777922 w 907576"/>
                  <a:gd name="connsiteY39" fmla="*/ 1030406 h 1166884"/>
                  <a:gd name="connsiteX40" fmla="*/ 771098 w 907576"/>
                  <a:gd name="connsiteY40" fmla="*/ 1064525 h 1166884"/>
                  <a:gd name="connsiteX41" fmla="*/ 791570 w 907576"/>
                  <a:gd name="connsiteY41" fmla="*/ 1105469 h 1166884"/>
                  <a:gd name="connsiteX42" fmla="*/ 812042 w 907576"/>
                  <a:gd name="connsiteY42" fmla="*/ 1132764 h 1166884"/>
                  <a:gd name="connsiteX43" fmla="*/ 791570 w 907576"/>
                  <a:gd name="connsiteY43" fmla="*/ 1166884 h 1166884"/>
                  <a:gd name="connsiteX44" fmla="*/ 743803 w 907576"/>
                  <a:gd name="connsiteY44" fmla="*/ 1160060 h 1166884"/>
                  <a:gd name="connsiteX45" fmla="*/ 702860 w 907576"/>
                  <a:gd name="connsiteY45" fmla="*/ 1125940 h 1166884"/>
                  <a:gd name="connsiteX46" fmla="*/ 689212 w 907576"/>
                  <a:gd name="connsiteY46" fmla="*/ 1084997 h 1166884"/>
                  <a:gd name="connsiteX47" fmla="*/ 689212 w 907576"/>
                  <a:gd name="connsiteY47" fmla="*/ 1030406 h 1166884"/>
                  <a:gd name="connsiteX48" fmla="*/ 661916 w 907576"/>
                  <a:gd name="connsiteY48" fmla="*/ 982639 h 1166884"/>
                  <a:gd name="connsiteX49" fmla="*/ 641445 w 907576"/>
                  <a:gd name="connsiteY49" fmla="*/ 941695 h 1166884"/>
                  <a:gd name="connsiteX50" fmla="*/ 600501 w 907576"/>
                  <a:gd name="connsiteY50" fmla="*/ 921224 h 1166884"/>
                  <a:gd name="connsiteX51" fmla="*/ 600501 w 907576"/>
                  <a:gd name="connsiteY51" fmla="*/ 880281 h 1166884"/>
                  <a:gd name="connsiteX52" fmla="*/ 566382 w 907576"/>
                  <a:gd name="connsiteY52" fmla="*/ 852985 h 1166884"/>
                  <a:gd name="connsiteX53" fmla="*/ 525439 w 907576"/>
                  <a:gd name="connsiteY53" fmla="*/ 798394 h 1166884"/>
                  <a:gd name="connsiteX54" fmla="*/ 491319 w 907576"/>
                  <a:gd name="connsiteY54" fmla="*/ 784746 h 1166884"/>
                  <a:gd name="connsiteX55" fmla="*/ 484495 w 907576"/>
                  <a:gd name="connsiteY55" fmla="*/ 723331 h 1166884"/>
                  <a:gd name="connsiteX56" fmla="*/ 457200 w 907576"/>
                  <a:gd name="connsiteY56" fmla="*/ 689212 h 1166884"/>
                  <a:gd name="connsiteX57" fmla="*/ 402609 w 907576"/>
                  <a:gd name="connsiteY57" fmla="*/ 627797 h 1166884"/>
                  <a:gd name="connsiteX58" fmla="*/ 395785 w 907576"/>
                  <a:gd name="connsiteY58" fmla="*/ 580030 h 1166884"/>
                  <a:gd name="connsiteX59" fmla="*/ 348018 w 907576"/>
                  <a:gd name="connsiteY59" fmla="*/ 566382 h 1166884"/>
                  <a:gd name="connsiteX60" fmla="*/ 341194 w 907576"/>
                  <a:gd name="connsiteY60" fmla="*/ 491319 h 1166884"/>
                  <a:gd name="connsiteX61" fmla="*/ 327546 w 907576"/>
                  <a:gd name="connsiteY61" fmla="*/ 443552 h 1166884"/>
                  <a:gd name="connsiteX62" fmla="*/ 279779 w 907576"/>
                  <a:gd name="connsiteY62" fmla="*/ 436728 h 1166884"/>
                  <a:gd name="connsiteX63" fmla="*/ 238836 w 907576"/>
                  <a:gd name="connsiteY63" fmla="*/ 423081 h 1166884"/>
                  <a:gd name="connsiteX64" fmla="*/ 218364 w 907576"/>
                  <a:gd name="connsiteY64" fmla="*/ 388961 h 1166884"/>
                  <a:gd name="connsiteX65" fmla="*/ 211540 w 907576"/>
                  <a:gd name="connsiteY65" fmla="*/ 354842 h 1166884"/>
                  <a:gd name="connsiteX66" fmla="*/ 184245 w 907576"/>
                  <a:gd name="connsiteY66" fmla="*/ 334370 h 1166884"/>
                  <a:gd name="connsiteX67" fmla="*/ 136477 w 907576"/>
                  <a:gd name="connsiteY67" fmla="*/ 300251 h 1166884"/>
                  <a:gd name="connsiteX68" fmla="*/ 136477 w 907576"/>
                  <a:gd name="connsiteY68" fmla="*/ 266131 h 1166884"/>
                  <a:gd name="connsiteX69" fmla="*/ 129654 w 907576"/>
                  <a:gd name="connsiteY69" fmla="*/ 245660 h 1166884"/>
                  <a:gd name="connsiteX70" fmla="*/ 95534 w 907576"/>
                  <a:gd name="connsiteY70" fmla="*/ 218364 h 1166884"/>
                  <a:gd name="connsiteX71" fmla="*/ 95534 w 907576"/>
                  <a:gd name="connsiteY71" fmla="*/ 177421 h 1166884"/>
                  <a:gd name="connsiteX72" fmla="*/ 40943 w 907576"/>
                  <a:gd name="connsiteY72" fmla="*/ 129654 h 1166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</a:cxnLst>
                <a:rect l="l" t="t" r="r" b="b"/>
                <a:pathLst>
                  <a:path w="907576" h="1166884">
                    <a:moveTo>
                      <a:pt x="40943" y="129654"/>
                    </a:moveTo>
                    <a:lnTo>
                      <a:pt x="68239" y="75063"/>
                    </a:lnTo>
                    <a:lnTo>
                      <a:pt x="27295" y="68239"/>
                    </a:lnTo>
                    <a:lnTo>
                      <a:pt x="0" y="34119"/>
                    </a:lnTo>
                    <a:lnTo>
                      <a:pt x="13648" y="0"/>
                    </a:lnTo>
                    <a:lnTo>
                      <a:pt x="61415" y="6824"/>
                    </a:lnTo>
                    <a:lnTo>
                      <a:pt x="102358" y="40943"/>
                    </a:lnTo>
                    <a:lnTo>
                      <a:pt x="150125" y="54591"/>
                    </a:lnTo>
                    <a:lnTo>
                      <a:pt x="184245" y="95534"/>
                    </a:lnTo>
                    <a:lnTo>
                      <a:pt x="218364" y="129654"/>
                    </a:lnTo>
                    <a:lnTo>
                      <a:pt x="266131" y="170597"/>
                    </a:lnTo>
                    <a:lnTo>
                      <a:pt x="266131" y="170597"/>
                    </a:lnTo>
                    <a:lnTo>
                      <a:pt x="266131" y="252484"/>
                    </a:lnTo>
                    <a:lnTo>
                      <a:pt x="300251" y="300251"/>
                    </a:lnTo>
                    <a:lnTo>
                      <a:pt x="354842" y="300251"/>
                    </a:lnTo>
                    <a:lnTo>
                      <a:pt x="416257" y="354842"/>
                    </a:lnTo>
                    <a:lnTo>
                      <a:pt x="504967" y="429904"/>
                    </a:lnTo>
                    <a:lnTo>
                      <a:pt x="593677" y="491319"/>
                    </a:lnTo>
                    <a:lnTo>
                      <a:pt x="655092" y="545910"/>
                    </a:lnTo>
                    <a:lnTo>
                      <a:pt x="723331" y="566382"/>
                    </a:lnTo>
                    <a:lnTo>
                      <a:pt x="764274" y="600501"/>
                    </a:lnTo>
                    <a:lnTo>
                      <a:pt x="750627" y="620973"/>
                    </a:lnTo>
                    <a:lnTo>
                      <a:pt x="723331" y="634621"/>
                    </a:lnTo>
                    <a:lnTo>
                      <a:pt x="682388" y="614149"/>
                    </a:lnTo>
                    <a:lnTo>
                      <a:pt x="620973" y="627797"/>
                    </a:lnTo>
                    <a:lnTo>
                      <a:pt x="600501" y="668740"/>
                    </a:lnTo>
                    <a:lnTo>
                      <a:pt x="627797" y="736979"/>
                    </a:lnTo>
                    <a:lnTo>
                      <a:pt x="641445" y="798394"/>
                    </a:lnTo>
                    <a:lnTo>
                      <a:pt x="675564" y="887104"/>
                    </a:lnTo>
                    <a:lnTo>
                      <a:pt x="723331" y="900752"/>
                    </a:lnTo>
                    <a:lnTo>
                      <a:pt x="798394" y="955343"/>
                    </a:lnTo>
                    <a:lnTo>
                      <a:pt x="832513" y="955343"/>
                    </a:lnTo>
                    <a:lnTo>
                      <a:pt x="866633" y="948519"/>
                    </a:lnTo>
                    <a:lnTo>
                      <a:pt x="893928" y="1003110"/>
                    </a:lnTo>
                    <a:lnTo>
                      <a:pt x="907576" y="1030406"/>
                    </a:lnTo>
                    <a:lnTo>
                      <a:pt x="887104" y="1057701"/>
                    </a:lnTo>
                    <a:lnTo>
                      <a:pt x="873457" y="1044054"/>
                    </a:lnTo>
                    <a:lnTo>
                      <a:pt x="839337" y="1023582"/>
                    </a:lnTo>
                    <a:lnTo>
                      <a:pt x="812042" y="1030406"/>
                    </a:lnTo>
                    <a:lnTo>
                      <a:pt x="777922" y="1030406"/>
                    </a:lnTo>
                    <a:lnTo>
                      <a:pt x="771098" y="1064525"/>
                    </a:lnTo>
                    <a:lnTo>
                      <a:pt x="791570" y="1105469"/>
                    </a:lnTo>
                    <a:lnTo>
                      <a:pt x="812042" y="1132764"/>
                    </a:lnTo>
                    <a:lnTo>
                      <a:pt x="791570" y="1166884"/>
                    </a:lnTo>
                    <a:lnTo>
                      <a:pt x="743803" y="1160060"/>
                    </a:lnTo>
                    <a:lnTo>
                      <a:pt x="702860" y="1125940"/>
                    </a:lnTo>
                    <a:lnTo>
                      <a:pt x="689212" y="1084997"/>
                    </a:lnTo>
                    <a:lnTo>
                      <a:pt x="689212" y="1030406"/>
                    </a:lnTo>
                    <a:lnTo>
                      <a:pt x="661916" y="982639"/>
                    </a:lnTo>
                    <a:lnTo>
                      <a:pt x="641445" y="941695"/>
                    </a:lnTo>
                    <a:lnTo>
                      <a:pt x="600501" y="921224"/>
                    </a:lnTo>
                    <a:lnTo>
                      <a:pt x="600501" y="880281"/>
                    </a:lnTo>
                    <a:lnTo>
                      <a:pt x="566382" y="852985"/>
                    </a:lnTo>
                    <a:lnTo>
                      <a:pt x="525439" y="798394"/>
                    </a:lnTo>
                    <a:lnTo>
                      <a:pt x="491319" y="784746"/>
                    </a:lnTo>
                    <a:lnTo>
                      <a:pt x="484495" y="723331"/>
                    </a:lnTo>
                    <a:lnTo>
                      <a:pt x="457200" y="689212"/>
                    </a:lnTo>
                    <a:lnTo>
                      <a:pt x="402609" y="627797"/>
                    </a:lnTo>
                    <a:lnTo>
                      <a:pt x="395785" y="580030"/>
                    </a:lnTo>
                    <a:lnTo>
                      <a:pt x="348018" y="566382"/>
                    </a:lnTo>
                    <a:lnTo>
                      <a:pt x="341194" y="491319"/>
                    </a:lnTo>
                    <a:lnTo>
                      <a:pt x="327546" y="443552"/>
                    </a:lnTo>
                    <a:lnTo>
                      <a:pt x="279779" y="436728"/>
                    </a:lnTo>
                    <a:lnTo>
                      <a:pt x="238836" y="423081"/>
                    </a:lnTo>
                    <a:lnTo>
                      <a:pt x="218364" y="388961"/>
                    </a:lnTo>
                    <a:lnTo>
                      <a:pt x="211540" y="354842"/>
                    </a:lnTo>
                    <a:lnTo>
                      <a:pt x="184245" y="334370"/>
                    </a:lnTo>
                    <a:lnTo>
                      <a:pt x="136477" y="300251"/>
                    </a:lnTo>
                    <a:lnTo>
                      <a:pt x="136477" y="266131"/>
                    </a:lnTo>
                    <a:lnTo>
                      <a:pt x="129654" y="245660"/>
                    </a:lnTo>
                    <a:lnTo>
                      <a:pt x="95534" y="218364"/>
                    </a:lnTo>
                    <a:lnTo>
                      <a:pt x="95534" y="177421"/>
                    </a:lnTo>
                    <a:lnTo>
                      <a:pt x="40943" y="129654"/>
                    </a:lnTo>
                    <a:close/>
                  </a:path>
                </a:pathLst>
              </a:custGeom>
              <a:ln/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9" name="Полилиния 48"/>
              <p:cNvSpPr/>
              <p:nvPr/>
            </p:nvSpPr>
            <p:spPr>
              <a:xfrm>
                <a:off x="3729418" y="2029207"/>
                <a:ext cx="1023243" cy="566382"/>
              </a:xfrm>
              <a:custGeom>
                <a:avLst/>
                <a:gdLst>
                  <a:gd name="connsiteX0" fmla="*/ 156949 w 1003111"/>
                  <a:gd name="connsiteY0" fmla="*/ 566382 h 566382"/>
                  <a:gd name="connsiteX1" fmla="*/ 150126 w 1003111"/>
                  <a:gd name="connsiteY1" fmla="*/ 470848 h 566382"/>
                  <a:gd name="connsiteX2" fmla="*/ 163773 w 1003111"/>
                  <a:gd name="connsiteY2" fmla="*/ 409433 h 566382"/>
                  <a:gd name="connsiteX3" fmla="*/ 225188 w 1003111"/>
                  <a:gd name="connsiteY3" fmla="*/ 361665 h 566382"/>
                  <a:gd name="connsiteX4" fmla="*/ 218364 w 1003111"/>
                  <a:gd name="connsiteY4" fmla="*/ 327546 h 566382"/>
                  <a:gd name="connsiteX5" fmla="*/ 272955 w 1003111"/>
                  <a:gd name="connsiteY5" fmla="*/ 300251 h 566382"/>
                  <a:gd name="connsiteX6" fmla="*/ 313899 w 1003111"/>
                  <a:gd name="connsiteY6" fmla="*/ 279779 h 566382"/>
                  <a:gd name="connsiteX7" fmla="*/ 354842 w 1003111"/>
                  <a:gd name="connsiteY7" fmla="*/ 252483 h 566382"/>
                  <a:gd name="connsiteX8" fmla="*/ 402609 w 1003111"/>
                  <a:gd name="connsiteY8" fmla="*/ 259307 h 566382"/>
                  <a:gd name="connsiteX9" fmla="*/ 443552 w 1003111"/>
                  <a:gd name="connsiteY9" fmla="*/ 211540 h 566382"/>
                  <a:gd name="connsiteX10" fmla="*/ 518615 w 1003111"/>
                  <a:gd name="connsiteY10" fmla="*/ 204716 h 566382"/>
                  <a:gd name="connsiteX11" fmla="*/ 552735 w 1003111"/>
                  <a:gd name="connsiteY11" fmla="*/ 170597 h 566382"/>
                  <a:gd name="connsiteX12" fmla="*/ 627797 w 1003111"/>
                  <a:gd name="connsiteY12" fmla="*/ 143301 h 566382"/>
                  <a:gd name="connsiteX13" fmla="*/ 668741 w 1003111"/>
                  <a:gd name="connsiteY13" fmla="*/ 177421 h 566382"/>
                  <a:gd name="connsiteX14" fmla="*/ 723332 w 1003111"/>
                  <a:gd name="connsiteY14" fmla="*/ 143301 h 566382"/>
                  <a:gd name="connsiteX15" fmla="*/ 723332 w 1003111"/>
                  <a:gd name="connsiteY15" fmla="*/ 143301 h 566382"/>
                  <a:gd name="connsiteX16" fmla="*/ 825690 w 1003111"/>
                  <a:gd name="connsiteY16" fmla="*/ 163773 h 566382"/>
                  <a:gd name="connsiteX17" fmla="*/ 880281 w 1003111"/>
                  <a:gd name="connsiteY17" fmla="*/ 150125 h 566382"/>
                  <a:gd name="connsiteX18" fmla="*/ 941696 w 1003111"/>
                  <a:gd name="connsiteY18" fmla="*/ 150125 h 566382"/>
                  <a:gd name="connsiteX19" fmla="*/ 975815 w 1003111"/>
                  <a:gd name="connsiteY19" fmla="*/ 122830 h 566382"/>
                  <a:gd name="connsiteX20" fmla="*/ 1003111 w 1003111"/>
                  <a:gd name="connsiteY20" fmla="*/ 75062 h 566382"/>
                  <a:gd name="connsiteX21" fmla="*/ 975815 w 1003111"/>
                  <a:gd name="connsiteY21" fmla="*/ 68239 h 566382"/>
                  <a:gd name="connsiteX22" fmla="*/ 962167 w 1003111"/>
                  <a:gd name="connsiteY22" fmla="*/ 34119 h 566382"/>
                  <a:gd name="connsiteX23" fmla="*/ 914400 w 1003111"/>
                  <a:gd name="connsiteY23" fmla="*/ 34119 h 566382"/>
                  <a:gd name="connsiteX24" fmla="*/ 914400 w 1003111"/>
                  <a:gd name="connsiteY24" fmla="*/ 34119 h 566382"/>
                  <a:gd name="connsiteX25" fmla="*/ 873457 w 1003111"/>
                  <a:gd name="connsiteY25" fmla="*/ 40943 h 566382"/>
                  <a:gd name="connsiteX26" fmla="*/ 825690 w 1003111"/>
                  <a:gd name="connsiteY26" fmla="*/ 40943 h 566382"/>
                  <a:gd name="connsiteX27" fmla="*/ 805218 w 1003111"/>
                  <a:gd name="connsiteY27" fmla="*/ 20471 h 566382"/>
                  <a:gd name="connsiteX28" fmla="*/ 771099 w 1003111"/>
                  <a:gd name="connsiteY28" fmla="*/ 40943 h 566382"/>
                  <a:gd name="connsiteX29" fmla="*/ 757451 w 1003111"/>
                  <a:gd name="connsiteY29" fmla="*/ 13648 h 566382"/>
                  <a:gd name="connsiteX30" fmla="*/ 730155 w 1003111"/>
                  <a:gd name="connsiteY30" fmla="*/ 0 h 566382"/>
                  <a:gd name="connsiteX31" fmla="*/ 682388 w 1003111"/>
                  <a:gd name="connsiteY31" fmla="*/ 0 h 566382"/>
                  <a:gd name="connsiteX32" fmla="*/ 682388 w 1003111"/>
                  <a:gd name="connsiteY32" fmla="*/ 13648 h 566382"/>
                  <a:gd name="connsiteX33" fmla="*/ 627797 w 1003111"/>
                  <a:gd name="connsiteY33" fmla="*/ 6824 h 566382"/>
                  <a:gd name="connsiteX34" fmla="*/ 607326 w 1003111"/>
                  <a:gd name="connsiteY34" fmla="*/ 0 h 566382"/>
                  <a:gd name="connsiteX35" fmla="*/ 559558 w 1003111"/>
                  <a:gd name="connsiteY35" fmla="*/ 20471 h 566382"/>
                  <a:gd name="connsiteX36" fmla="*/ 511791 w 1003111"/>
                  <a:gd name="connsiteY36" fmla="*/ 27295 h 566382"/>
                  <a:gd name="connsiteX37" fmla="*/ 470848 w 1003111"/>
                  <a:gd name="connsiteY37" fmla="*/ 27295 h 566382"/>
                  <a:gd name="connsiteX38" fmla="*/ 464024 w 1003111"/>
                  <a:gd name="connsiteY38" fmla="*/ 40943 h 566382"/>
                  <a:gd name="connsiteX39" fmla="*/ 443552 w 1003111"/>
                  <a:gd name="connsiteY39" fmla="*/ 75062 h 566382"/>
                  <a:gd name="connsiteX40" fmla="*/ 402609 w 1003111"/>
                  <a:gd name="connsiteY40" fmla="*/ 75062 h 566382"/>
                  <a:gd name="connsiteX41" fmla="*/ 388961 w 1003111"/>
                  <a:gd name="connsiteY41" fmla="*/ 88710 h 566382"/>
                  <a:gd name="connsiteX42" fmla="*/ 354842 w 1003111"/>
                  <a:gd name="connsiteY42" fmla="*/ 109182 h 566382"/>
                  <a:gd name="connsiteX43" fmla="*/ 307075 w 1003111"/>
                  <a:gd name="connsiteY43" fmla="*/ 102358 h 566382"/>
                  <a:gd name="connsiteX44" fmla="*/ 300251 w 1003111"/>
                  <a:gd name="connsiteY44" fmla="*/ 116006 h 566382"/>
                  <a:gd name="connsiteX45" fmla="*/ 252484 w 1003111"/>
                  <a:gd name="connsiteY45" fmla="*/ 143301 h 566382"/>
                  <a:gd name="connsiteX46" fmla="*/ 245660 w 1003111"/>
                  <a:gd name="connsiteY46" fmla="*/ 177421 h 566382"/>
                  <a:gd name="connsiteX47" fmla="*/ 204717 w 1003111"/>
                  <a:gd name="connsiteY47" fmla="*/ 170597 h 566382"/>
                  <a:gd name="connsiteX48" fmla="*/ 238836 w 1003111"/>
                  <a:gd name="connsiteY48" fmla="*/ 184245 h 566382"/>
                  <a:gd name="connsiteX49" fmla="*/ 163773 w 1003111"/>
                  <a:gd name="connsiteY49" fmla="*/ 184245 h 566382"/>
                  <a:gd name="connsiteX50" fmla="*/ 136478 w 1003111"/>
                  <a:gd name="connsiteY50" fmla="*/ 177421 h 566382"/>
                  <a:gd name="connsiteX51" fmla="*/ 109182 w 1003111"/>
                  <a:gd name="connsiteY51" fmla="*/ 238836 h 566382"/>
                  <a:gd name="connsiteX52" fmla="*/ 75063 w 1003111"/>
                  <a:gd name="connsiteY52" fmla="*/ 238836 h 566382"/>
                  <a:gd name="connsiteX53" fmla="*/ 75063 w 1003111"/>
                  <a:gd name="connsiteY53" fmla="*/ 238836 h 566382"/>
                  <a:gd name="connsiteX54" fmla="*/ 6824 w 1003111"/>
                  <a:gd name="connsiteY54" fmla="*/ 279779 h 566382"/>
                  <a:gd name="connsiteX55" fmla="*/ 20472 w 1003111"/>
                  <a:gd name="connsiteY55" fmla="*/ 341194 h 566382"/>
                  <a:gd name="connsiteX56" fmla="*/ 27296 w 1003111"/>
                  <a:gd name="connsiteY56" fmla="*/ 388961 h 566382"/>
                  <a:gd name="connsiteX57" fmla="*/ 0 w 1003111"/>
                  <a:gd name="connsiteY57" fmla="*/ 443552 h 566382"/>
                  <a:gd name="connsiteX58" fmla="*/ 27296 w 1003111"/>
                  <a:gd name="connsiteY58" fmla="*/ 470848 h 566382"/>
                  <a:gd name="connsiteX59" fmla="*/ 27296 w 1003111"/>
                  <a:gd name="connsiteY59" fmla="*/ 470848 h 566382"/>
                  <a:gd name="connsiteX60" fmla="*/ 95535 w 1003111"/>
                  <a:gd name="connsiteY60" fmla="*/ 532262 h 566382"/>
                  <a:gd name="connsiteX61" fmla="*/ 95535 w 1003111"/>
                  <a:gd name="connsiteY61" fmla="*/ 532262 h 566382"/>
                  <a:gd name="connsiteX62" fmla="*/ 156949 w 1003111"/>
                  <a:gd name="connsiteY62" fmla="*/ 566382 h 5663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</a:cxnLst>
                <a:rect l="l" t="t" r="r" b="b"/>
                <a:pathLst>
                  <a:path w="1003111" h="566382">
                    <a:moveTo>
                      <a:pt x="156949" y="566382"/>
                    </a:moveTo>
                    <a:lnTo>
                      <a:pt x="150126" y="470848"/>
                    </a:lnTo>
                    <a:lnTo>
                      <a:pt x="163773" y="409433"/>
                    </a:lnTo>
                    <a:lnTo>
                      <a:pt x="225188" y="361665"/>
                    </a:lnTo>
                    <a:lnTo>
                      <a:pt x="218364" y="327546"/>
                    </a:lnTo>
                    <a:lnTo>
                      <a:pt x="272955" y="300251"/>
                    </a:lnTo>
                    <a:lnTo>
                      <a:pt x="313899" y="279779"/>
                    </a:lnTo>
                    <a:lnTo>
                      <a:pt x="354842" y="252483"/>
                    </a:lnTo>
                    <a:lnTo>
                      <a:pt x="402609" y="259307"/>
                    </a:lnTo>
                    <a:lnTo>
                      <a:pt x="443552" y="211540"/>
                    </a:lnTo>
                    <a:lnTo>
                      <a:pt x="518615" y="204716"/>
                    </a:lnTo>
                    <a:lnTo>
                      <a:pt x="552735" y="170597"/>
                    </a:lnTo>
                    <a:lnTo>
                      <a:pt x="627797" y="143301"/>
                    </a:lnTo>
                    <a:lnTo>
                      <a:pt x="668741" y="177421"/>
                    </a:lnTo>
                    <a:lnTo>
                      <a:pt x="723332" y="143301"/>
                    </a:lnTo>
                    <a:lnTo>
                      <a:pt x="723332" y="143301"/>
                    </a:lnTo>
                    <a:lnTo>
                      <a:pt x="825690" y="163773"/>
                    </a:lnTo>
                    <a:lnTo>
                      <a:pt x="880281" y="150125"/>
                    </a:lnTo>
                    <a:lnTo>
                      <a:pt x="941696" y="150125"/>
                    </a:lnTo>
                    <a:lnTo>
                      <a:pt x="975815" y="122830"/>
                    </a:lnTo>
                    <a:lnTo>
                      <a:pt x="1003111" y="75062"/>
                    </a:lnTo>
                    <a:lnTo>
                      <a:pt x="975815" y="68239"/>
                    </a:lnTo>
                    <a:lnTo>
                      <a:pt x="962167" y="34119"/>
                    </a:lnTo>
                    <a:lnTo>
                      <a:pt x="914400" y="34119"/>
                    </a:lnTo>
                    <a:lnTo>
                      <a:pt x="914400" y="34119"/>
                    </a:lnTo>
                    <a:lnTo>
                      <a:pt x="873457" y="40943"/>
                    </a:lnTo>
                    <a:lnTo>
                      <a:pt x="825690" y="40943"/>
                    </a:lnTo>
                    <a:lnTo>
                      <a:pt x="805218" y="20471"/>
                    </a:lnTo>
                    <a:lnTo>
                      <a:pt x="771099" y="40943"/>
                    </a:lnTo>
                    <a:lnTo>
                      <a:pt x="757451" y="13648"/>
                    </a:lnTo>
                    <a:lnTo>
                      <a:pt x="730155" y="0"/>
                    </a:lnTo>
                    <a:lnTo>
                      <a:pt x="682388" y="0"/>
                    </a:lnTo>
                    <a:lnTo>
                      <a:pt x="682388" y="13648"/>
                    </a:lnTo>
                    <a:lnTo>
                      <a:pt x="627797" y="6824"/>
                    </a:lnTo>
                    <a:lnTo>
                      <a:pt x="607326" y="0"/>
                    </a:lnTo>
                    <a:lnTo>
                      <a:pt x="559558" y="20471"/>
                    </a:lnTo>
                    <a:lnTo>
                      <a:pt x="511791" y="27295"/>
                    </a:lnTo>
                    <a:lnTo>
                      <a:pt x="470848" y="27295"/>
                    </a:lnTo>
                    <a:lnTo>
                      <a:pt x="464024" y="40943"/>
                    </a:lnTo>
                    <a:lnTo>
                      <a:pt x="443552" y="75062"/>
                    </a:lnTo>
                    <a:lnTo>
                      <a:pt x="402609" y="75062"/>
                    </a:lnTo>
                    <a:lnTo>
                      <a:pt x="388961" y="88710"/>
                    </a:lnTo>
                    <a:lnTo>
                      <a:pt x="354842" y="109182"/>
                    </a:lnTo>
                    <a:lnTo>
                      <a:pt x="307075" y="102358"/>
                    </a:lnTo>
                    <a:lnTo>
                      <a:pt x="300251" y="116006"/>
                    </a:lnTo>
                    <a:lnTo>
                      <a:pt x="252484" y="143301"/>
                    </a:lnTo>
                    <a:lnTo>
                      <a:pt x="245660" y="177421"/>
                    </a:lnTo>
                    <a:lnTo>
                      <a:pt x="204717" y="170597"/>
                    </a:lnTo>
                    <a:lnTo>
                      <a:pt x="238836" y="184245"/>
                    </a:lnTo>
                    <a:lnTo>
                      <a:pt x="163773" y="184245"/>
                    </a:lnTo>
                    <a:lnTo>
                      <a:pt x="136478" y="177421"/>
                    </a:lnTo>
                    <a:lnTo>
                      <a:pt x="109182" y="238836"/>
                    </a:lnTo>
                    <a:lnTo>
                      <a:pt x="75063" y="238836"/>
                    </a:lnTo>
                    <a:lnTo>
                      <a:pt x="75063" y="238836"/>
                    </a:lnTo>
                    <a:lnTo>
                      <a:pt x="6824" y="279779"/>
                    </a:lnTo>
                    <a:lnTo>
                      <a:pt x="20472" y="341194"/>
                    </a:lnTo>
                    <a:lnTo>
                      <a:pt x="27296" y="388961"/>
                    </a:lnTo>
                    <a:lnTo>
                      <a:pt x="0" y="443552"/>
                    </a:lnTo>
                    <a:lnTo>
                      <a:pt x="27296" y="470848"/>
                    </a:lnTo>
                    <a:lnTo>
                      <a:pt x="27296" y="470848"/>
                    </a:lnTo>
                    <a:lnTo>
                      <a:pt x="95535" y="532262"/>
                    </a:lnTo>
                    <a:lnTo>
                      <a:pt x="95535" y="532262"/>
                    </a:lnTo>
                    <a:lnTo>
                      <a:pt x="156949" y="566382"/>
                    </a:lnTo>
                    <a:close/>
                  </a:path>
                </a:pathLst>
              </a:custGeom>
              <a:ln/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0" name="Полилиния 49"/>
              <p:cNvSpPr/>
              <p:nvPr/>
            </p:nvSpPr>
            <p:spPr>
              <a:xfrm>
                <a:off x="673614" y="2022383"/>
                <a:ext cx="187942" cy="245660"/>
              </a:xfrm>
              <a:custGeom>
                <a:avLst/>
                <a:gdLst>
                  <a:gd name="connsiteX0" fmla="*/ 0 w 184244"/>
                  <a:gd name="connsiteY0" fmla="*/ 47767 h 245660"/>
                  <a:gd name="connsiteX1" fmla="*/ 20471 w 184244"/>
                  <a:gd name="connsiteY1" fmla="*/ 122830 h 245660"/>
                  <a:gd name="connsiteX2" fmla="*/ 54591 w 184244"/>
                  <a:gd name="connsiteY2" fmla="*/ 177421 h 245660"/>
                  <a:gd name="connsiteX3" fmla="*/ 54591 w 184244"/>
                  <a:gd name="connsiteY3" fmla="*/ 177421 h 245660"/>
                  <a:gd name="connsiteX4" fmla="*/ 88710 w 184244"/>
                  <a:gd name="connsiteY4" fmla="*/ 245660 h 245660"/>
                  <a:gd name="connsiteX5" fmla="*/ 88710 w 184244"/>
                  <a:gd name="connsiteY5" fmla="*/ 245660 h 245660"/>
                  <a:gd name="connsiteX6" fmla="*/ 143301 w 184244"/>
                  <a:gd name="connsiteY6" fmla="*/ 232012 h 245660"/>
                  <a:gd name="connsiteX7" fmla="*/ 184244 w 184244"/>
                  <a:gd name="connsiteY7" fmla="*/ 211540 h 245660"/>
                  <a:gd name="connsiteX8" fmla="*/ 170597 w 184244"/>
                  <a:gd name="connsiteY8" fmla="*/ 156949 h 245660"/>
                  <a:gd name="connsiteX9" fmla="*/ 136477 w 184244"/>
                  <a:gd name="connsiteY9" fmla="*/ 143301 h 245660"/>
                  <a:gd name="connsiteX10" fmla="*/ 156949 w 184244"/>
                  <a:gd name="connsiteY10" fmla="*/ 75063 h 245660"/>
                  <a:gd name="connsiteX11" fmla="*/ 122830 w 184244"/>
                  <a:gd name="connsiteY11" fmla="*/ 68239 h 245660"/>
                  <a:gd name="connsiteX12" fmla="*/ 109182 w 184244"/>
                  <a:gd name="connsiteY12" fmla="*/ 13648 h 245660"/>
                  <a:gd name="connsiteX13" fmla="*/ 68238 w 184244"/>
                  <a:gd name="connsiteY13" fmla="*/ 6824 h 245660"/>
                  <a:gd name="connsiteX14" fmla="*/ 27295 w 184244"/>
                  <a:gd name="connsiteY14" fmla="*/ 0 h 245660"/>
                  <a:gd name="connsiteX15" fmla="*/ 0 w 184244"/>
                  <a:gd name="connsiteY15" fmla="*/ 47767 h 245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84244" h="245660">
                    <a:moveTo>
                      <a:pt x="0" y="47767"/>
                    </a:moveTo>
                    <a:lnTo>
                      <a:pt x="20471" y="122830"/>
                    </a:lnTo>
                    <a:lnTo>
                      <a:pt x="54591" y="177421"/>
                    </a:lnTo>
                    <a:lnTo>
                      <a:pt x="54591" y="177421"/>
                    </a:lnTo>
                    <a:lnTo>
                      <a:pt x="88710" y="245660"/>
                    </a:lnTo>
                    <a:lnTo>
                      <a:pt x="88710" y="245660"/>
                    </a:lnTo>
                    <a:lnTo>
                      <a:pt x="143301" y="232012"/>
                    </a:lnTo>
                    <a:lnTo>
                      <a:pt x="184244" y="211540"/>
                    </a:lnTo>
                    <a:lnTo>
                      <a:pt x="170597" y="156949"/>
                    </a:lnTo>
                    <a:lnTo>
                      <a:pt x="136477" y="143301"/>
                    </a:lnTo>
                    <a:lnTo>
                      <a:pt x="156949" y="75063"/>
                    </a:lnTo>
                    <a:lnTo>
                      <a:pt x="122830" y="68239"/>
                    </a:lnTo>
                    <a:lnTo>
                      <a:pt x="109182" y="13648"/>
                    </a:lnTo>
                    <a:lnTo>
                      <a:pt x="68238" y="6824"/>
                    </a:lnTo>
                    <a:lnTo>
                      <a:pt x="27295" y="0"/>
                    </a:lnTo>
                    <a:lnTo>
                      <a:pt x="0" y="47767"/>
                    </a:lnTo>
                    <a:close/>
                  </a:path>
                </a:pathLst>
              </a:custGeom>
              <a:ln/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1" name="Полилиния 50"/>
              <p:cNvSpPr/>
              <p:nvPr/>
            </p:nvSpPr>
            <p:spPr>
              <a:xfrm>
                <a:off x="5462666" y="1637978"/>
                <a:ext cx="299315" cy="354842"/>
              </a:xfrm>
              <a:custGeom>
                <a:avLst/>
                <a:gdLst>
                  <a:gd name="connsiteX0" fmla="*/ 13647 w 293426"/>
                  <a:gd name="connsiteY0" fmla="*/ 143302 h 354842"/>
                  <a:gd name="connsiteX1" fmla="*/ 0 w 293426"/>
                  <a:gd name="connsiteY1" fmla="*/ 197893 h 354842"/>
                  <a:gd name="connsiteX2" fmla="*/ 0 w 293426"/>
                  <a:gd name="connsiteY2" fmla="*/ 197893 h 354842"/>
                  <a:gd name="connsiteX3" fmla="*/ 27295 w 293426"/>
                  <a:gd name="connsiteY3" fmla="*/ 286603 h 354842"/>
                  <a:gd name="connsiteX4" fmla="*/ 75062 w 293426"/>
                  <a:gd name="connsiteY4" fmla="*/ 286603 h 354842"/>
                  <a:gd name="connsiteX5" fmla="*/ 75062 w 293426"/>
                  <a:gd name="connsiteY5" fmla="*/ 286603 h 354842"/>
                  <a:gd name="connsiteX6" fmla="*/ 163773 w 293426"/>
                  <a:gd name="connsiteY6" fmla="*/ 354842 h 354842"/>
                  <a:gd name="connsiteX7" fmla="*/ 225188 w 293426"/>
                  <a:gd name="connsiteY7" fmla="*/ 354842 h 354842"/>
                  <a:gd name="connsiteX8" fmla="*/ 279779 w 293426"/>
                  <a:gd name="connsiteY8" fmla="*/ 341194 h 354842"/>
                  <a:gd name="connsiteX9" fmla="*/ 272955 w 293426"/>
                  <a:gd name="connsiteY9" fmla="*/ 293427 h 354842"/>
                  <a:gd name="connsiteX10" fmla="*/ 293426 w 293426"/>
                  <a:gd name="connsiteY10" fmla="*/ 286603 h 354842"/>
                  <a:gd name="connsiteX11" fmla="*/ 272955 w 293426"/>
                  <a:gd name="connsiteY11" fmla="*/ 238836 h 354842"/>
                  <a:gd name="connsiteX12" fmla="*/ 286602 w 293426"/>
                  <a:gd name="connsiteY12" fmla="*/ 211540 h 354842"/>
                  <a:gd name="connsiteX13" fmla="*/ 252483 w 293426"/>
                  <a:gd name="connsiteY13" fmla="*/ 184245 h 354842"/>
                  <a:gd name="connsiteX14" fmla="*/ 211540 w 293426"/>
                  <a:gd name="connsiteY14" fmla="*/ 163773 h 354842"/>
                  <a:gd name="connsiteX15" fmla="*/ 211540 w 293426"/>
                  <a:gd name="connsiteY15" fmla="*/ 163773 h 354842"/>
                  <a:gd name="connsiteX16" fmla="*/ 232011 w 293426"/>
                  <a:gd name="connsiteY16" fmla="*/ 81887 h 354842"/>
                  <a:gd name="connsiteX17" fmla="*/ 197892 w 293426"/>
                  <a:gd name="connsiteY17" fmla="*/ 61415 h 354842"/>
                  <a:gd name="connsiteX18" fmla="*/ 177420 w 293426"/>
                  <a:gd name="connsiteY18" fmla="*/ 27296 h 354842"/>
                  <a:gd name="connsiteX19" fmla="*/ 129653 w 293426"/>
                  <a:gd name="connsiteY19" fmla="*/ 27296 h 354842"/>
                  <a:gd name="connsiteX20" fmla="*/ 116005 w 293426"/>
                  <a:gd name="connsiteY20" fmla="*/ 0 h 354842"/>
                  <a:gd name="connsiteX21" fmla="*/ 116005 w 293426"/>
                  <a:gd name="connsiteY21" fmla="*/ 0 h 354842"/>
                  <a:gd name="connsiteX22" fmla="*/ 40943 w 293426"/>
                  <a:gd name="connsiteY22" fmla="*/ 61415 h 354842"/>
                  <a:gd name="connsiteX23" fmla="*/ 68238 w 293426"/>
                  <a:gd name="connsiteY23" fmla="*/ 88711 h 354842"/>
                  <a:gd name="connsiteX24" fmla="*/ 13647 w 293426"/>
                  <a:gd name="connsiteY24" fmla="*/ 143302 h 354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93426" h="354842">
                    <a:moveTo>
                      <a:pt x="13647" y="143302"/>
                    </a:moveTo>
                    <a:lnTo>
                      <a:pt x="0" y="197893"/>
                    </a:lnTo>
                    <a:lnTo>
                      <a:pt x="0" y="197893"/>
                    </a:lnTo>
                    <a:lnTo>
                      <a:pt x="27295" y="286603"/>
                    </a:lnTo>
                    <a:lnTo>
                      <a:pt x="75062" y="286603"/>
                    </a:lnTo>
                    <a:lnTo>
                      <a:pt x="75062" y="286603"/>
                    </a:lnTo>
                    <a:lnTo>
                      <a:pt x="163773" y="354842"/>
                    </a:lnTo>
                    <a:lnTo>
                      <a:pt x="225188" y="354842"/>
                    </a:lnTo>
                    <a:lnTo>
                      <a:pt x="279779" y="341194"/>
                    </a:lnTo>
                    <a:lnTo>
                      <a:pt x="272955" y="293427"/>
                    </a:lnTo>
                    <a:lnTo>
                      <a:pt x="293426" y="286603"/>
                    </a:lnTo>
                    <a:lnTo>
                      <a:pt x="272955" y="238836"/>
                    </a:lnTo>
                    <a:lnTo>
                      <a:pt x="286602" y="211540"/>
                    </a:lnTo>
                    <a:lnTo>
                      <a:pt x="252483" y="184245"/>
                    </a:lnTo>
                    <a:lnTo>
                      <a:pt x="211540" y="163773"/>
                    </a:lnTo>
                    <a:lnTo>
                      <a:pt x="211540" y="163773"/>
                    </a:lnTo>
                    <a:lnTo>
                      <a:pt x="232011" y="81887"/>
                    </a:lnTo>
                    <a:lnTo>
                      <a:pt x="197892" y="61415"/>
                    </a:lnTo>
                    <a:lnTo>
                      <a:pt x="177420" y="27296"/>
                    </a:lnTo>
                    <a:lnTo>
                      <a:pt x="129653" y="27296"/>
                    </a:lnTo>
                    <a:lnTo>
                      <a:pt x="116005" y="0"/>
                    </a:lnTo>
                    <a:lnTo>
                      <a:pt x="116005" y="0"/>
                    </a:lnTo>
                    <a:lnTo>
                      <a:pt x="40943" y="61415"/>
                    </a:lnTo>
                    <a:lnTo>
                      <a:pt x="68238" y="88711"/>
                    </a:lnTo>
                    <a:lnTo>
                      <a:pt x="13647" y="143302"/>
                    </a:lnTo>
                    <a:close/>
                  </a:path>
                </a:pathLst>
              </a:custGeom>
              <a:ln/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2" name="Полилиния 51"/>
              <p:cNvSpPr/>
              <p:nvPr/>
            </p:nvSpPr>
            <p:spPr>
              <a:xfrm>
                <a:off x="5741099" y="1890462"/>
                <a:ext cx="187943" cy="204716"/>
              </a:xfrm>
              <a:custGeom>
                <a:avLst/>
                <a:gdLst>
                  <a:gd name="connsiteX0" fmla="*/ 0 w 184245"/>
                  <a:gd name="connsiteY0" fmla="*/ 204716 h 204716"/>
                  <a:gd name="connsiteX1" fmla="*/ 95534 w 184245"/>
                  <a:gd name="connsiteY1" fmla="*/ 177421 h 204716"/>
                  <a:gd name="connsiteX2" fmla="*/ 163773 w 184245"/>
                  <a:gd name="connsiteY2" fmla="*/ 170597 h 204716"/>
                  <a:gd name="connsiteX3" fmla="*/ 184245 w 184245"/>
                  <a:gd name="connsiteY3" fmla="*/ 136477 h 204716"/>
                  <a:gd name="connsiteX4" fmla="*/ 156949 w 184245"/>
                  <a:gd name="connsiteY4" fmla="*/ 68238 h 204716"/>
                  <a:gd name="connsiteX5" fmla="*/ 156949 w 184245"/>
                  <a:gd name="connsiteY5" fmla="*/ 27295 h 204716"/>
                  <a:gd name="connsiteX6" fmla="*/ 102358 w 184245"/>
                  <a:gd name="connsiteY6" fmla="*/ 13647 h 204716"/>
                  <a:gd name="connsiteX7" fmla="*/ 54591 w 184245"/>
                  <a:gd name="connsiteY7" fmla="*/ 0 h 204716"/>
                  <a:gd name="connsiteX8" fmla="*/ 61415 w 184245"/>
                  <a:gd name="connsiteY8" fmla="*/ 47767 h 204716"/>
                  <a:gd name="connsiteX9" fmla="*/ 34119 w 184245"/>
                  <a:gd name="connsiteY9" fmla="*/ 129653 h 204716"/>
                  <a:gd name="connsiteX10" fmla="*/ 0 w 184245"/>
                  <a:gd name="connsiteY10" fmla="*/ 204716 h 204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4245" h="204716">
                    <a:moveTo>
                      <a:pt x="0" y="204716"/>
                    </a:moveTo>
                    <a:lnTo>
                      <a:pt x="95534" y="177421"/>
                    </a:lnTo>
                    <a:lnTo>
                      <a:pt x="163773" y="170597"/>
                    </a:lnTo>
                    <a:lnTo>
                      <a:pt x="184245" y="136477"/>
                    </a:lnTo>
                    <a:lnTo>
                      <a:pt x="156949" y="68238"/>
                    </a:lnTo>
                    <a:lnTo>
                      <a:pt x="156949" y="27295"/>
                    </a:lnTo>
                    <a:lnTo>
                      <a:pt x="102358" y="13647"/>
                    </a:lnTo>
                    <a:lnTo>
                      <a:pt x="54591" y="0"/>
                    </a:lnTo>
                    <a:lnTo>
                      <a:pt x="61415" y="47767"/>
                    </a:lnTo>
                    <a:lnTo>
                      <a:pt x="34119" y="129653"/>
                    </a:lnTo>
                    <a:lnTo>
                      <a:pt x="0" y="204716"/>
                    </a:lnTo>
                    <a:close/>
                  </a:path>
                </a:pathLst>
              </a:custGeom>
              <a:ln/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3" name="Полилиния 52"/>
              <p:cNvSpPr/>
              <p:nvPr/>
            </p:nvSpPr>
            <p:spPr>
              <a:xfrm>
                <a:off x="4453345" y="1271756"/>
                <a:ext cx="494219" cy="334370"/>
              </a:xfrm>
              <a:custGeom>
                <a:avLst/>
                <a:gdLst>
                  <a:gd name="connsiteX0" fmla="*/ 27295 w 484495"/>
                  <a:gd name="connsiteY0" fmla="*/ 0 h 334370"/>
                  <a:gd name="connsiteX1" fmla="*/ 95534 w 484495"/>
                  <a:gd name="connsiteY1" fmla="*/ 61415 h 334370"/>
                  <a:gd name="connsiteX2" fmla="*/ 150125 w 484495"/>
                  <a:gd name="connsiteY2" fmla="*/ 47767 h 334370"/>
                  <a:gd name="connsiteX3" fmla="*/ 150125 w 484495"/>
                  <a:gd name="connsiteY3" fmla="*/ 47767 h 334370"/>
                  <a:gd name="connsiteX4" fmla="*/ 184245 w 484495"/>
                  <a:gd name="connsiteY4" fmla="*/ 129654 h 334370"/>
                  <a:gd name="connsiteX5" fmla="*/ 225188 w 484495"/>
                  <a:gd name="connsiteY5" fmla="*/ 116006 h 334370"/>
                  <a:gd name="connsiteX6" fmla="*/ 320722 w 484495"/>
                  <a:gd name="connsiteY6" fmla="*/ 102358 h 334370"/>
                  <a:gd name="connsiteX7" fmla="*/ 320722 w 484495"/>
                  <a:gd name="connsiteY7" fmla="*/ 102358 h 334370"/>
                  <a:gd name="connsiteX8" fmla="*/ 402609 w 484495"/>
                  <a:gd name="connsiteY8" fmla="*/ 109182 h 334370"/>
                  <a:gd name="connsiteX9" fmla="*/ 402609 w 484495"/>
                  <a:gd name="connsiteY9" fmla="*/ 109182 h 334370"/>
                  <a:gd name="connsiteX10" fmla="*/ 450376 w 484495"/>
                  <a:gd name="connsiteY10" fmla="*/ 177421 h 334370"/>
                  <a:gd name="connsiteX11" fmla="*/ 484495 w 484495"/>
                  <a:gd name="connsiteY11" fmla="*/ 225188 h 334370"/>
                  <a:gd name="connsiteX12" fmla="*/ 484495 w 484495"/>
                  <a:gd name="connsiteY12" fmla="*/ 225188 h 334370"/>
                  <a:gd name="connsiteX13" fmla="*/ 443552 w 484495"/>
                  <a:gd name="connsiteY13" fmla="*/ 300251 h 334370"/>
                  <a:gd name="connsiteX14" fmla="*/ 382137 w 484495"/>
                  <a:gd name="connsiteY14" fmla="*/ 307075 h 334370"/>
                  <a:gd name="connsiteX15" fmla="*/ 334370 w 484495"/>
                  <a:gd name="connsiteY15" fmla="*/ 293427 h 334370"/>
                  <a:gd name="connsiteX16" fmla="*/ 279779 w 484495"/>
                  <a:gd name="connsiteY16" fmla="*/ 334370 h 334370"/>
                  <a:gd name="connsiteX17" fmla="*/ 225188 w 484495"/>
                  <a:gd name="connsiteY17" fmla="*/ 313899 h 334370"/>
                  <a:gd name="connsiteX18" fmla="*/ 211540 w 484495"/>
                  <a:gd name="connsiteY18" fmla="*/ 272955 h 334370"/>
                  <a:gd name="connsiteX19" fmla="*/ 156949 w 484495"/>
                  <a:gd name="connsiteY19" fmla="*/ 245660 h 334370"/>
                  <a:gd name="connsiteX20" fmla="*/ 156949 w 484495"/>
                  <a:gd name="connsiteY20" fmla="*/ 245660 h 334370"/>
                  <a:gd name="connsiteX21" fmla="*/ 122830 w 484495"/>
                  <a:gd name="connsiteY21" fmla="*/ 184245 h 334370"/>
                  <a:gd name="connsiteX22" fmla="*/ 81886 w 484495"/>
                  <a:gd name="connsiteY22" fmla="*/ 184245 h 334370"/>
                  <a:gd name="connsiteX23" fmla="*/ 47767 w 484495"/>
                  <a:gd name="connsiteY23" fmla="*/ 143302 h 334370"/>
                  <a:gd name="connsiteX24" fmla="*/ 47767 w 484495"/>
                  <a:gd name="connsiteY24" fmla="*/ 143302 h 334370"/>
                  <a:gd name="connsiteX25" fmla="*/ 6824 w 484495"/>
                  <a:gd name="connsiteY25" fmla="*/ 88711 h 334370"/>
                  <a:gd name="connsiteX26" fmla="*/ 0 w 484495"/>
                  <a:gd name="connsiteY26" fmla="*/ 54591 h 334370"/>
                  <a:gd name="connsiteX27" fmla="*/ 27295 w 484495"/>
                  <a:gd name="connsiteY27" fmla="*/ 0 h 334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484495" h="334370">
                    <a:moveTo>
                      <a:pt x="27295" y="0"/>
                    </a:moveTo>
                    <a:lnTo>
                      <a:pt x="95534" y="61415"/>
                    </a:lnTo>
                    <a:lnTo>
                      <a:pt x="150125" y="47767"/>
                    </a:lnTo>
                    <a:lnTo>
                      <a:pt x="150125" y="47767"/>
                    </a:lnTo>
                    <a:lnTo>
                      <a:pt x="184245" y="129654"/>
                    </a:lnTo>
                    <a:lnTo>
                      <a:pt x="225188" y="116006"/>
                    </a:lnTo>
                    <a:lnTo>
                      <a:pt x="320722" y="102358"/>
                    </a:lnTo>
                    <a:lnTo>
                      <a:pt x="320722" y="102358"/>
                    </a:lnTo>
                    <a:lnTo>
                      <a:pt x="402609" y="109182"/>
                    </a:lnTo>
                    <a:lnTo>
                      <a:pt x="402609" y="109182"/>
                    </a:lnTo>
                    <a:lnTo>
                      <a:pt x="450376" y="177421"/>
                    </a:lnTo>
                    <a:lnTo>
                      <a:pt x="484495" y="225188"/>
                    </a:lnTo>
                    <a:lnTo>
                      <a:pt x="484495" y="225188"/>
                    </a:lnTo>
                    <a:lnTo>
                      <a:pt x="443552" y="300251"/>
                    </a:lnTo>
                    <a:lnTo>
                      <a:pt x="382137" y="307075"/>
                    </a:lnTo>
                    <a:lnTo>
                      <a:pt x="334370" y="293427"/>
                    </a:lnTo>
                    <a:lnTo>
                      <a:pt x="279779" y="334370"/>
                    </a:lnTo>
                    <a:lnTo>
                      <a:pt x="225188" y="313899"/>
                    </a:lnTo>
                    <a:lnTo>
                      <a:pt x="211540" y="272955"/>
                    </a:lnTo>
                    <a:lnTo>
                      <a:pt x="156949" y="245660"/>
                    </a:lnTo>
                    <a:lnTo>
                      <a:pt x="156949" y="245660"/>
                    </a:lnTo>
                    <a:lnTo>
                      <a:pt x="122830" y="184245"/>
                    </a:lnTo>
                    <a:lnTo>
                      <a:pt x="81886" y="184245"/>
                    </a:lnTo>
                    <a:lnTo>
                      <a:pt x="47767" y="143302"/>
                    </a:lnTo>
                    <a:lnTo>
                      <a:pt x="47767" y="143302"/>
                    </a:lnTo>
                    <a:lnTo>
                      <a:pt x="6824" y="88711"/>
                    </a:lnTo>
                    <a:lnTo>
                      <a:pt x="0" y="54591"/>
                    </a:lnTo>
                    <a:lnTo>
                      <a:pt x="27295" y="0"/>
                    </a:lnTo>
                    <a:close/>
                  </a:path>
                </a:pathLst>
              </a:custGeom>
              <a:ln/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4" name="Полилиния 53"/>
              <p:cNvSpPr/>
              <p:nvPr/>
            </p:nvSpPr>
            <p:spPr>
              <a:xfrm>
                <a:off x="7258561" y="2089069"/>
                <a:ext cx="215785" cy="129653"/>
              </a:xfrm>
              <a:custGeom>
                <a:avLst/>
                <a:gdLst>
                  <a:gd name="connsiteX0" fmla="*/ 6824 w 211540"/>
                  <a:gd name="connsiteY0" fmla="*/ 0 h 129653"/>
                  <a:gd name="connsiteX1" fmla="*/ 54591 w 211540"/>
                  <a:gd name="connsiteY1" fmla="*/ 34119 h 129653"/>
                  <a:gd name="connsiteX2" fmla="*/ 116006 w 211540"/>
                  <a:gd name="connsiteY2" fmla="*/ 6824 h 129653"/>
                  <a:gd name="connsiteX3" fmla="*/ 156949 w 211540"/>
                  <a:gd name="connsiteY3" fmla="*/ 34119 h 129653"/>
                  <a:gd name="connsiteX4" fmla="*/ 170597 w 211540"/>
                  <a:gd name="connsiteY4" fmla="*/ 68239 h 129653"/>
                  <a:gd name="connsiteX5" fmla="*/ 211540 w 211540"/>
                  <a:gd name="connsiteY5" fmla="*/ 75062 h 129653"/>
                  <a:gd name="connsiteX6" fmla="*/ 177421 w 211540"/>
                  <a:gd name="connsiteY6" fmla="*/ 102358 h 129653"/>
                  <a:gd name="connsiteX7" fmla="*/ 122830 w 211540"/>
                  <a:gd name="connsiteY7" fmla="*/ 95534 h 129653"/>
                  <a:gd name="connsiteX8" fmla="*/ 81886 w 211540"/>
                  <a:gd name="connsiteY8" fmla="*/ 129653 h 129653"/>
                  <a:gd name="connsiteX9" fmla="*/ 27295 w 211540"/>
                  <a:gd name="connsiteY9" fmla="*/ 122830 h 129653"/>
                  <a:gd name="connsiteX10" fmla="*/ 0 w 211540"/>
                  <a:gd name="connsiteY10" fmla="*/ 88710 h 129653"/>
                  <a:gd name="connsiteX11" fmla="*/ 6824 w 211540"/>
                  <a:gd name="connsiteY11" fmla="*/ 0 h 129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11540" h="129653">
                    <a:moveTo>
                      <a:pt x="6824" y="0"/>
                    </a:moveTo>
                    <a:lnTo>
                      <a:pt x="54591" y="34119"/>
                    </a:lnTo>
                    <a:lnTo>
                      <a:pt x="116006" y="6824"/>
                    </a:lnTo>
                    <a:lnTo>
                      <a:pt x="156949" y="34119"/>
                    </a:lnTo>
                    <a:lnTo>
                      <a:pt x="170597" y="68239"/>
                    </a:lnTo>
                    <a:lnTo>
                      <a:pt x="211540" y="75062"/>
                    </a:lnTo>
                    <a:lnTo>
                      <a:pt x="177421" y="102358"/>
                    </a:lnTo>
                    <a:lnTo>
                      <a:pt x="122830" y="95534"/>
                    </a:lnTo>
                    <a:lnTo>
                      <a:pt x="81886" y="129653"/>
                    </a:lnTo>
                    <a:lnTo>
                      <a:pt x="27295" y="122830"/>
                    </a:lnTo>
                    <a:lnTo>
                      <a:pt x="0" y="88710"/>
                    </a:lnTo>
                    <a:lnTo>
                      <a:pt x="6824" y="0"/>
                    </a:lnTo>
                    <a:close/>
                  </a:path>
                </a:pathLst>
              </a:custGeom>
              <a:ln/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5" name="Полилиния 54"/>
              <p:cNvSpPr/>
              <p:nvPr/>
            </p:nvSpPr>
            <p:spPr>
              <a:xfrm>
                <a:off x="7007970" y="1850233"/>
                <a:ext cx="334120" cy="286603"/>
              </a:xfrm>
              <a:custGeom>
                <a:avLst/>
                <a:gdLst>
                  <a:gd name="connsiteX0" fmla="*/ 0 w 327546"/>
                  <a:gd name="connsiteY0" fmla="*/ 143301 h 286603"/>
                  <a:gd name="connsiteX1" fmla="*/ 40943 w 327546"/>
                  <a:gd name="connsiteY1" fmla="*/ 232012 h 286603"/>
                  <a:gd name="connsiteX2" fmla="*/ 40943 w 327546"/>
                  <a:gd name="connsiteY2" fmla="*/ 232012 h 286603"/>
                  <a:gd name="connsiteX3" fmla="*/ 109182 w 327546"/>
                  <a:gd name="connsiteY3" fmla="*/ 266131 h 286603"/>
                  <a:gd name="connsiteX4" fmla="*/ 136478 w 327546"/>
                  <a:gd name="connsiteY4" fmla="*/ 286603 h 286603"/>
                  <a:gd name="connsiteX5" fmla="*/ 170597 w 327546"/>
                  <a:gd name="connsiteY5" fmla="*/ 266131 h 286603"/>
                  <a:gd name="connsiteX6" fmla="*/ 197893 w 327546"/>
                  <a:gd name="connsiteY6" fmla="*/ 225188 h 286603"/>
                  <a:gd name="connsiteX7" fmla="*/ 252484 w 327546"/>
                  <a:gd name="connsiteY7" fmla="*/ 191069 h 286603"/>
                  <a:gd name="connsiteX8" fmla="*/ 252484 w 327546"/>
                  <a:gd name="connsiteY8" fmla="*/ 156949 h 286603"/>
                  <a:gd name="connsiteX9" fmla="*/ 327546 w 327546"/>
                  <a:gd name="connsiteY9" fmla="*/ 109182 h 286603"/>
                  <a:gd name="connsiteX10" fmla="*/ 327546 w 327546"/>
                  <a:gd name="connsiteY10" fmla="*/ 54591 h 286603"/>
                  <a:gd name="connsiteX11" fmla="*/ 300251 w 327546"/>
                  <a:gd name="connsiteY11" fmla="*/ 13648 h 286603"/>
                  <a:gd name="connsiteX12" fmla="*/ 218364 w 327546"/>
                  <a:gd name="connsiteY12" fmla="*/ 0 h 286603"/>
                  <a:gd name="connsiteX13" fmla="*/ 177421 w 327546"/>
                  <a:gd name="connsiteY13" fmla="*/ 40943 h 286603"/>
                  <a:gd name="connsiteX14" fmla="*/ 143301 w 327546"/>
                  <a:gd name="connsiteY14" fmla="*/ 40943 h 286603"/>
                  <a:gd name="connsiteX15" fmla="*/ 109182 w 327546"/>
                  <a:gd name="connsiteY15" fmla="*/ 54591 h 286603"/>
                  <a:gd name="connsiteX16" fmla="*/ 61415 w 327546"/>
                  <a:gd name="connsiteY16" fmla="*/ 81886 h 286603"/>
                  <a:gd name="connsiteX17" fmla="*/ 27296 w 327546"/>
                  <a:gd name="connsiteY17" fmla="*/ 75063 h 286603"/>
                  <a:gd name="connsiteX18" fmla="*/ 0 w 327546"/>
                  <a:gd name="connsiteY18" fmla="*/ 143301 h 2866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27546" h="286603">
                    <a:moveTo>
                      <a:pt x="0" y="143301"/>
                    </a:moveTo>
                    <a:lnTo>
                      <a:pt x="40943" y="232012"/>
                    </a:lnTo>
                    <a:lnTo>
                      <a:pt x="40943" y="232012"/>
                    </a:lnTo>
                    <a:lnTo>
                      <a:pt x="109182" y="266131"/>
                    </a:lnTo>
                    <a:lnTo>
                      <a:pt x="136478" y="286603"/>
                    </a:lnTo>
                    <a:lnTo>
                      <a:pt x="170597" y="266131"/>
                    </a:lnTo>
                    <a:lnTo>
                      <a:pt x="197893" y="225188"/>
                    </a:lnTo>
                    <a:lnTo>
                      <a:pt x="252484" y="191069"/>
                    </a:lnTo>
                    <a:lnTo>
                      <a:pt x="252484" y="156949"/>
                    </a:lnTo>
                    <a:lnTo>
                      <a:pt x="327546" y="109182"/>
                    </a:lnTo>
                    <a:lnTo>
                      <a:pt x="327546" y="54591"/>
                    </a:lnTo>
                    <a:lnTo>
                      <a:pt x="300251" y="13648"/>
                    </a:lnTo>
                    <a:lnTo>
                      <a:pt x="218364" y="0"/>
                    </a:lnTo>
                    <a:lnTo>
                      <a:pt x="177421" y="40943"/>
                    </a:lnTo>
                    <a:lnTo>
                      <a:pt x="143301" y="40943"/>
                    </a:lnTo>
                    <a:lnTo>
                      <a:pt x="109182" y="54591"/>
                    </a:lnTo>
                    <a:lnTo>
                      <a:pt x="61415" y="81886"/>
                    </a:lnTo>
                    <a:lnTo>
                      <a:pt x="27296" y="75063"/>
                    </a:lnTo>
                    <a:lnTo>
                      <a:pt x="0" y="143301"/>
                    </a:lnTo>
                    <a:close/>
                  </a:path>
                </a:pathLst>
              </a:custGeom>
              <a:ln/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6" name="Полилиния 55"/>
              <p:cNvSpPr/>
              <p:nvPr/>
            </p:nvSpPr>
            <p:spPr>
              <a:xfrm>
                <a:off x="7335129" y="1781994"/>
                <a:ext cx="201865" cy="102358"/>
              </a:xfrm>
              <a:custGeom>
                <a:avLst/>
                <a:gdLst>
                  <a:gd name="connsiteX0" fmla="*/ 0 w 197893"/>
                  <a:gd name="connsiteY0" fmla="*/ 40943 h 102358"/>
                  <a:gd name="connsiteX1" fmla="*/ 47768 w 197893"/>
                  <a:gd name="connsiteY1" fmla="*/ 102358 h 102358"/>
                  <a:gd name="connsiteX2" fmla="*/ 47768 w 197893"/>
                  <a:gd name="connsiteY2" fmla="*/ 102358 h 102358"/>
                  <a:gd name="connsiteX3" fmla="*/ 163774 w 197893"/>
                  <a:gd name="connsiteY3" fmla="*/ 81887 h 102358"/>
                  <a:gd name="connsiteX4" fmla="*/ 197893 w 197893"/>
                  <a:gd name="connsiteY4" fmla="*/ 54591 h 102358"/>
                  <a:gd name="connsiteX5" fmla="*/ 197893 w 197893"/>
                  <a:gd name="connsiteY5" fmla="*/ 54591 h 102358"/>
                  <a:gd name="connsiteX6" fmla="*/ 136478 w 197893"/>
                  <a:gd name="connsiteY6" fmla="*/ 0 h 102358"/>
                  <a:gd name="connsiteX7" fmla="*/ 75063 w 197893"/>
                  <a:gd name="connsiteY7" fmla="*/ 34119 h 102358"/>
                  <a:gd name="connsiteX8" fmla="*/ 47768 w 197893"/>
                  <a:gd name="connsiteY8" fmla="*/ 6824 h 102358"/>
                  <a:gd name="connsiteX9" fmla="*/ 0 w 197893"/>
                  <a:gd name="connsiteY9" fmla="*/ 40943 h 1023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97893" h="102358">
                    <a:moveTo>
                      <a:pt x="0" y="40943"/>
                    </a:moveTo>
                    <a:lnTo>
                      <a:pt x="47768" y="102358"/>
                    </a:lnTo>
                    <a:lnTo>
                      <a:pt x="47768" y="102358"/>
                    </a:lnTo>
                    <a:lnTo>
                      <a:pt x="163774" y="81887"/>
                    </a:lnTo>
                    <a:lnTo>
                      <a:pt x="197893" y="54591"/>
                    </a:lnTo>
                    <a:lnTo>
                      <a:pt x="197893" y="54591"/>
                    </a:lnTo>
                    <a:lnTo>
                      <a:pt x="136478" y="0"/>
                    </a:lnTo>
                    <a:lnTo>
                      <a:pt x="75063" y="34119"/>
                    </a:lnTo>
                    <a:lnTo>
                      <a:pt x="47768" y="6824"/>
                    </a:lnTo>
                    <a:lnTo>
                      <a:pt x="0" y="40943"/>
                    </a:lnTo>
                    <a:close/>
                  </a:path>
                </a:pathLst>
              </a:custGeom>
              <a:ln/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7" name="Полилиния 56"/>
              <p:cNvSpPr/>
              <p:nvPr/>
            </p:nvSpPr>
            <p:spPr>
              <a:xfrm>
                <a:off x="8560235" y="1080687"/>
                <a:ext cx="125295" cy="252484"/>
              </a:xfrm>
              <a:custGeom>
                <a:avLst/>
                <a:gdLst>
                  <a:gd name="connsiteX0" fmla="*/ 122830 w 122830"/>
                  <a:gd name="connsiteY0" fmla="*/ 68239 h 252484"/>
                  <a:gd name="connsiteX1" fmla="*/ 102359 w 122830"/>
                  <a:gd name="connsiteY1" fmla="*/ 184245 h 252484"/>
                  <a:gd name="connsiteX2" fmla="*/ 109182 w 122830"/>
                  <a:gd name="connsiteY2" fmla="*/ 252484 h 252484"/>
                  <a:gd name="connsiteX3" fmla="*/ 61415 w 122830"/>
                  <a:gd name="connsiteY3" fmla="*/ 245660 h 252484"/>
                  <a:gd name="connsiteX4" fmla="*/ 13648 w 122830"/>
                  <a:gd name="connsiteY4" fmla="*/ 238836 h 252484"/>
                  <a:gd name="connsiteX5" fmla="*/ 0 w 122830"/>
                  <a:gd name="connsiteY5" fmla="*/ 184245 h 252484"/>
                  <a:gd name="connsiteX6" fmla="*/ 20472 w 122830"/>
                  <a:gd name="connsiteY6" fmla="*/ 109182 h 252484"/>
                  <a:gd name="connsiteX7" fmla="*/ 6824 w 122830"/>
                  <a:gd name="connsiteY7" fmla="*/ 75063 h 252484"/>
                  <a:gd name="connsiteX8" fmla="*/ 6824 w 122830"/>
                  <a:gd name="connsiteY8" fmla="*/ 47768 h 252484"/>
                  <a:gd name="connsiteX9" fmla="*/ 61415 w 122830"/>
                  <a:gd name="connsiteY9" fmla="*/ 0 h 252484"/>
                  <a:gd name="connsiteX10" fmla="*/ 122830 w 122830"/>
                  <a:gd name="connsiteY10" fmla="*/ 68239 h 252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2830" h="252484">
                    <a:moveTo>
                      <a:pt x="122830" y="68239"/>
                    </a:moveTo>
                    <a:lnTo>
                      <a:pt x="102359" y="184245"/>
                    </a:lnTo>
                    <a:lnTo>
                      <a:pt x="109182" y="252484"/>
                    </a:lnTo>
                    <a:lnTo>
                      <a:pt x="61415" y="245660"/>
                    </a:lnTo>
                    <a:lnTo>
                      <a:pt x="13648" y="238836"/>
                    </a:lnTo>
                    <a:lnTo>
                      <a:pt x="0" y="184245"/>
                    </a:lnTo>
                    <a:lnTo>
                      <a:pt x="20472" y="109182"/>
                    </a:lnTo>
                    <a:lnTo>
                      <a:pt x="6824" y="75063"/>
                    </a:lnTo>
                    <a:lnTo>
                      <a:pt x="6824" y="47768"/>
                    </a:lnTo>
                    <a:lnTo>
                      <a:pt x="61415" y="0"/>
                    </a:lnTo>
                    <a:lnTo>
                      <a:pt x="122830" y="68239"/>
                    </a:lnTo>
                    <a:close/>
                  </a:path>
                </a:pathLst>
              </a:custGeom>
              <a:ln/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8" name="Полилиния 57"/>
              <p:cNvSpPr/>
              <p:nvPr/>
            </p:nvSpPr>
            <p:spPr>
              <a:xfrm>
                <a:off x="10035932" y="4983947"/>
                <a:ext cx="208825" cy="402609"/>
              </a:xfrm>
              <a:custGeom>
                <a:avLst/>
                <a:gdLst>
                  <a:gd name="connsiteX0" fmla="*/ 40943 w 204716"/>
                  <a:gd name="connsiteY0" fmla="*/ 402609 h 402609"/>
                  <a:gd name="connsiteX1" fmla="*/ 88711 w 204716"/>
                  <a:gd name="connsiteY1" fmla="*/ 368490 h 402609"/>
                  <a:gd name="connsiteX2" fmla="*/ 95534 w 204716"/>
                  <a:gd name="connsiteY2" fmla="*/ 320722 h 402609"/>
                  <a:gd name="connsiteX3" fmla="*/ 95534 w 204716"/>
                  <a:gd name="connsiteY3" fmla="*/ 279779 h 402609"/>
                  <a:gd name="connsiteX4" fmla="*/ 136478 w 204716"/>
                  <a:gd name="connsiteY4" fmla="*/ 259308 h 402609"/>
                  <a:gd name="connsiteX5" fmla="*/ 136478 w 204716"/>
                  <a:gd name="connsiteY5" fmla="*/ 259308 h 402609"/>
                  <a:gd name="connsiteX6" fmla="*/ 177421 w 204716"/>
                  <a:gd name="connsiteY6" fmla="*/ 156949 h 402609"/>
                  <a:gd name="connsiteX7" fmla="*/ 170597 w 204716"/>
                  <a:gd name="connsiteY7" fmla="*/ 136478 h 402609"/>
                  <a:gd name="connsiteX8" fmla="*/ 170597 w 204716"/>
                  <a:gd name="connsiteY8" fmla="*/ 136478 h 402609"/>
                  <a:gd name="connsiteX9" fmla="*/ 204716 w 204716"/>
                  <a:gd name="connsiteY9" fmla="*/ 54591 h 402609"/>
                  <a:gd name="connsiteX10" fmla="*/ 191069 w 204716"/>
                  <a:gd name="connsiteY10" fmla="*/ 27296 h 402609"/>
                  <a:gd name="connsiteX11" fmla="*/ 170597 w 204716"/>
                  <a:gd name="connsiteY11" fmla="*/ 0 h 402609"/>
                  <a:gd name="connsiteX12" fmla="*/ 122830 w 204716"/>
                  <a:gd name="connsiteY12" fmla="*/ 6824 h 402609"/>
                  <a:gd name="connsiteX13" fmla="*/ 81887 w 204716"/>
                  <a:gd name="connsiteY13" fmla="*/ 68239 h 402609"/>
                  <a:gd name="connsiteX14" fmla="*/ 61415 w 204716"/>
                  <a:gd name="connsiteY14" fmla="*/ 150125 h 402609"/>
                  <a:gd name="connsiteX15" fmla="*/ 75063 w 204716"/>
                  <a:gd name="connsiteY15" fmla="*/ 191069 h 402609"/>
                  <a:gd name="connsiteX16" fmla="*/ 40943 w 204716"/>
                  <a:gd name="connsiteY16" fmla="*/ 272955 h 402609"/>
                  <a:gd name="connsiteX17" fmla="*/ 0 w 204716"/>
                  <a:gd name="connsiteY17" fmla="*/ 334370 h 402609"/>
                  <a:gd name="connsiteX18" fmla="*/ 40943 w 204716"/>
                  <a:gd name="connsiteY18" fmla="*/ 402609 h 4026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04716" h="402609">
                    <a:moveTo>
                      <a:pt x="40943" y="402609"/>
                    </a:moveTo>
                    <a:lnTo>
                      <a:pt x="88711" y="368490"/>
                    </a:lnTo>
                    <a:lnTo>
                      <a:pt x="95534" y="320722"/>
                    </a:lnTo>
                    <a:lnTo>
                      <a:pt x="95534" y="279779"/>
                    </a:lnTo>
                    <a:lnTo>
                      <a:pt x="136478" y="259308"/>
                    </a:lnTo>
                    <a:lnTo>
                      <a:pt x="136478" y="259308"/>
                    </a:lnTo>
                    <a:lnTo>
                      <a:pt x="177421" y="156949"/>
                    </a:lnTo>
                    <a:lnTo>
                      <a:pt x="170597" y="136478"/>
                    </a:lnTo>
                    <a:lnTo>
                      <a:pt x="170597" y="136478"/>
                    </a:lnTo>
                    <a:lnTo>
                      <a:pt x="204716" y="54591"/>
                    </a:lnTo>
                    <a:lnTo>
                      <a:pt x="191069" y="27296"/>
                    </a:lnTo>
                    <a:lnTo>
                      <a:pt x="170597" y="0"/>
                    </a:lnTo>
                    <a:lnTo>
                      <a:pt x="122830" y="6824"/>
                    </a:lnTo>
                    <a:lnTo>
                      <a:pt x="81887" y="68239"/>
                    </a:lnTo>
                    <a:lnTo>
                      <a:pt x="61415" y="150125"/>
                    </a:lnTo>
                    <a:lnTo>
                      <a:pt x="75063" y="191069"/>
                    </a:lnTo>
                    <a:lnTo>
                      <a:pt x="40943" y="272955"/>
                    </a:lnTo>
                    <a:lnTo>
                      <a:pt x="0" y="334370"/>
                    </a:lnTo>
                    <a:lnTo>
                      <a:pt x="40943" y="402609"/>
                    </a:lnTo>
                    <a:close/>
                  </a:path>
                </a:pathLst>
              </a:custGeom>
              <a:ln/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9" name="Полилиния 58"/>
              <p:cNvSpPr/>
              <p:nvPr/>
            </p:nvSpPr>
            <p:spPr>
              <a:xfrm>
                <a:off x="10154266" y="4704168"/>
                <a:ext cx="153138" cy="252484"/>
              </a:xfrm>
              <a:custGeom>
                <a:avLst/>
                <a:gdLst>
                  <a:gd name="connsiteX0" fmla="*/ 75063 w 150125"/>
                  <a:gd name="connsiteY0" fmla="*/ 252484 h 252484"/>
                  <a:gd name="connsiteX1" fmla="*/ 102358 w 150125"/>
                  <a:gd name="connsiteY1" fmla="*/ 191069 h 252484"/>
                  <a:gd name="connsiteX2" fmla="*/ 116006 w 150125"/>
                  <a:gd name="connsiteY2" fmla="*/ 129654 h 252484"/>
                  <a:gd name="connsiteX3" fmla="*/ 116006 w 150125"/>
                  <a:gd name="connsiteY3" fmla="*/ 129654 h 252484"/>
                  <a:gd name="connsiteX4" fmla="*/ 150125 w 150125"/>
                  <a:gd name="connsiteY4" fmla="*/ 40943 h 252484"/>
                  <a:gd name="connsiteX5" fmla="*/ 129654 w 150125"/>
                  <a:gd name="connsiteY5" fmla="*/ 0 h 252484"/>
                  <a:gd name="connsiteX6" fmla="*/ 129654 w 150125"/>
                  <a:gd name="connsiteY6" fmla="*/ 0 h 252484"/>
                  <a:gd name="connsiteX7" fmla="*/ 68239 w 150125"/>
                  <a:gd name="connsiteY7" fmla="*/ 0 h 252484"/>
                  <a:gd name="connsiteX8" fmla="*/ 54591 w 150125"/>
                  <a:gd name="connsiteY8" fmla="*/ 95534 h 252484"/>
                  <a:gd name="connsiteX9" fmla="*/ 47767 w 150125"/>
                  <a:gd name="connsiteY9" fmla="*/ 156949 h 252484"/>
                  <a:gd name="connsiteX10" fmla="*/ 0 w 150125"/>
                  <a:gd name="connsiteY10" fmla="*/ 225188 h 252484"/>
                  <a:gd name="connsiteX11" fmla="*/ 75063 w 150125"/>
                  <a:gd name="connsiteY11" fmla="*/ 252484 h 252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0125" h="252484">
                    <a:moveTo>
                      <a:pt x="75063" y="252484"/>
                    </a:moveTo>
                    <a:lnTo>
                      <a:pt x="102358" y="191069"/>
                    </a:lnTo>
                    <a:lnTo>
                      <a:pt x="116006" y="129654"/>
                    </a:lnTo>
                    <a:lnTo>
                      <a:pt x="116006" y="129654"/>
                    </a:lnTo>
                    <a:lnTo>
                      <a:pt x="150125" y="40943"/>
                    </a:lnTo>
                    <a:lnTo>
                      <a:pt x="129654" y="0"/>
                    </a:lnTo>
                    <a:lnTo>
                      <a:pt x="129654" y="0"/>
                    </a:lnTo>
                    <a:lnTo>
                      <a:pt x="68239" y="0"/>
                    </a:lnTo>
                    <a:lnTo>
                      <a:pt x="54591" y="95534"/>
                    </a:lnTo>
                    <a:lnTo>
                      <a:pt x="47767" y="156949"/>
                    </a:lnTo>
                    <a:lnTo>
                      <a:pt x="0" y="225188"/>
                    </a:lnTo>
                    <a:lnTo>
                      <a:pt x="75063" y="252484"/>
                    </a:lnTo>
                    <a:close/>
                  </a:path>
                </a:pathLst>
              </a:custGeom>
              <a:ln/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60" name="Полилиния 59"/>
              <p:cNvSpPr/>
              <p:nvPr/>
            </p:nvSpPr>
            <p:spPr>
              <a:xfrm>
                <a:off x="10202992" y="4410741"/>
                <a:ext cx="104412" cy="245660"/>
              </a:xfrm>
              <a:custGeom>
                <a:avLst/>
                <a:gdLst>
                  <a:gd name="connsiteX0" fmla="*/ 61415 w 102358"/>
                  <a:gd name="connsiteY0" fmla="*/ 245660 h 245660"/>
                  <a:gd name="connsiteX1" fmla="*/ 102358 w 102358"/>
                  <a:gd name="connsiteY1" fmla="*/ 197893 h 245660"/>
                  <a:gd name="connsiteX2" fmla="*/ 88711 w 102358"/>
                  <a:gd name="connsiteY2" fmla="*/ 102358 h 245660"/>
                  <a:gd name="connsiteX3" fmla="*/ 95535 w 102358"/>
                  <a:gd name="connsiteY3" fmla="*/ 34120 h 245660"/>
                  <a:gd name="connsiteX4" fmla="*/ 68239 w 102358"/>
                  <a:gd name="connsiteY4" fmla="*/ 0 h 245660"/>
                  <a:gd name="connsiteX5" fmla="*/ 68239 w 102358"/>
                  <a:gd name="connsiteY5" fmla="*/ 0 h 245660"/>
                  <a:gd name="connsiteX6" fmla="*/ 0 w 102358"/>
                  <a:gd name="connsiteY6" fmla="*/ 6824 h 245660"/>
                  <a:gd name="connsiteX7" fmla="*/ 20472 w 102358"/>
                  <a:gd name="connsiteY7" fmla="*/ 81887 h 245660"/>
                  <a:gd name="connsiteX8" fmla="*/ 47767 w 102358"/>
                  <a:gd name="connsiteY8" fmla="*/ 143302 h 245660"/>
                  <a:gd name="connsiteX9" fmla="*/ 6824 w 102358"/>
                  <a:gd name="connsiteY9" fmla="*/ 191069 h 245660"/>
                  <a:gd name="connsiteX10" fmla="*/ 61415 w 102358"/>
                  <a:gd name="connsiteY10" fmla="*/ 245660 h 245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2358" h="245660">
                    <a:moveTo>
                      <a:pt x="61415" y="245660"/>
                    </a:moveTo>
                    <a:lnTo>
                      <a:pt x="102358" y="197893"/>
                    </a:lnTo>
                    <a:lnTo>
                      <a:pt x="88711" y="102358"/>
                    </a:lnTo>
                    <a:lnTo>
                      <a:pt x="95535" y="34120"/>
                    </a:lnTo>
                    <a:lnTo>
                      <a:pt x="68239" y="0"/>
                    </a:lnTo>
                    <a:lnTo>
                      <a:pt x="68239" y="0"/>
                    </a:lnTo>
                    <a:lnTo>
                      <a:pt x="0" y="6824"/>
                    </a:lnTo>
                    <a:lnTo>
                      <a:pt x="20472" y="81887"/>
                    </a:lnTo>
                    <a:lnTo>
                      <a:pt x="47767" y="143302"/>
                    </a:lnTo>
                    <a:lnTo>
                      <a:pt x="6824" y="191069"/>
                    </a:lnTo>
                    <a:lnTo>
                      <a:pt x="61415" y="245660"/>
                    </a:lnTo>
                    <a:close/>
                  </a:path>
                </a:pathLst>
              </a:custGeom>
              <a:ln/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61" name="Полилиния 60"/>
              <p:cNvSpPr/>
              <p:nvPr/>
            </p:nvSpPr>
            <p:spPr>
              <a:xfrm>
                <a:off x="10168188" y="4199201"/>
                <a:ext cx="104412" cy="143301"/>
              </a:xfrm>
              <a:custGeom>
                <a:avLst/>
                <a:gdLst>
                  <a:gd name="connsiteX0" fmla="*/ 47767 w 102358"/>
                  <a:gd name="connsiteY0" fmla="*/ 0 h 143301"/>
                  <a:gd name="connsiteX1" fmla="*/ 81886 w 102358"/>
                  <a:gd name="connsiteY1" fmla="*/ 75063 h 143301"/>
                  <a:gd name="connsiteX2" fmla="*/ 102358 w 102358"/>
                  <a:gd name="connsiteY2" fmla="*/ 136477 h 143301"/>
                  <a:gd name="connsiteX3" fmla="*/ 61415 w 102358"/>
                  <a:gd name="connsiteY3" fmla="*/ 143301 h 143301"/>
                  <a:gd name="connsiteX4" fmla="*/ 27295 w 102358"/>
                  <a:gd name="connsiteY4" fmla="*/ 136477 h 143301"/>
                  <a:gd name="connsiteX5" fmla="*/ 27295 w 102358"/>
                  <a:gd name="connsiteY5" fmla="*/ 95534 h 143301"/>
                  <a:gd name="connsiteX6" fmla="*/ 0 w 102358"/>
                  <a:gd name="connsiteY6" fmla="*/ 54591 h 143301"/>
                  <a:gd name="connsiteX7" fmla="*/ 47767 w 102358"/>
                  <a:gd name="connsiteY7" fmla="*/ 0 h 143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2358" h="143301">
                    <a:moveTo>
                      <a:pt x="47767" y="0"/>
                    </a:moveTo>
                    <a:lnTo>
                      <a:pt x="81886" y="75063"/>
                    </a:lnTo>
                    <a:lnTo>
                      <a:pt x="102358" y="136477"/>
                    </a:lnTo>
                    <a:lnTo>
                      <a:pt x="61415" y="143301"/>
                    </a:lnTo>
                    <a:lnTo>
                      <a:pt x="27295" y="136477"/>
                    </a:lnTo>
                    <a:lnTo>
                      <a:pt x="27295" y="95534"/>
                    </a:lnTo>
                    <a:lnTo>
                      <a:pt x="0" y="54591"/>
                    </a:lnTo>
                    <a:lnTo>
                      <a:pt x="47767" y="0"/>
                    </a:lnTo>
                    <a:close/>
                  </a:path>
                </a:pathLst>
              </a:custGeom>
              <a:ln/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sp>
          <p:nvSpPr>
            <p:cNvPr id="3" name="Полилиния 2"/>
            <p:cNvSpPr/>
            <p:nvPr/>
          </p:nvSpPr>
          <p:spPr>
            <a:xfrm>
              <a:off x="1389584" y="4505323"/>
              <a:ext cx="3263140" cy="2490233"/>
            </a:xfrm>
            <a:custGeom>
              <a:avLst/>
              <a:gdLst>
                <a:gd name="connsiteX0" fmla="*/ 114300 w 3044825"/>
                <a:gd name="connsiteY0" fmla="*/ 441325 h 2266950"/>
                <a:gd name="connsiteX1" fmla="*/ 82550 w 3044825"/>
                <a:gd name="connsiteY1" fmla="*/ 514350 h 2266950"/>
                <a:gd name="connsiteX2" fmla="*/ 88900 w 3044825"/>
                <a:gd name="connsiteY2" fmla="*/ 568325 h 2266950"/>
                <a:gd name="connsiteX3" fmla="*/ 152400 w 3044825"/>
                <a:gd name="connsiteY3" fmla="*/ 542925 h 2266950"/>
                <a:gd name="connsiteX4" fmla="*/ 190500 w 3044825"/>
                <a:gd name="connsiteY4" fmla="*/ 581025 h 2266950"/>
                <a:gd name="connsiteX5" fmla="*/ 292100 w 3044825"/>
                <a:gd name="connsiteY5" fmla="*/ 577850 h 2266950"/>
                <a:gd name="connsiteX6" fmla="*/ 346075 w 3044825"/>
                <a:gd name="connsiteY6" fmla="*/ 609600 h 2266950"/>
                <a:gd name="connsiteX7" fmla="*/ 346075 w 3044825"/>
                <a:gd name="connsiteY7" fmla="*/ 647700 h 2266950"/>
                <a:gd name="connsiteX8" fmla="*/ 396875 w 3044825"/>
                <a:gd name="connsiteY8" fmla="*/ 688975 h 2266950"/>
                <a:gd name="connsiteX9" fmla="*/ 403225 w 3044825"/>
                <a:gd name="connsiteY9" fmla="*/ 742950 h 2266950"/>
                <a:gd name="connsiteX10" fmla="*/ 387350 w 3044825"/>
                <a:gd name="connsiteY10" fmla="*/ 784225 h 2266950"/>
                <a:gd name="connsiteX11" fmla="*/ 358775 w 3044825"/>
                <a:gd name="connsiteY11" fmla="*/ 800100 h 2266950"/>
                <a:gd name="connsiteX12" fmla="*/ 339725 w 3044825"/>
                <a:gd name="connsiteY12" fmla="*/ 835025 h 2266950"/>
                <a:gd name="connsiteX13" fmla="*/ 307975 w 3044825"/>
                <a:gd name="connsiteY13" fmla="*/ 831850 h 2266950"/>
                <a:gd name="connsiteX14" fmla="*/ 317500 w 3044825"/>
                <a:gd name="connsiteY14" fmla="*/ 866775 h 2266950"/>
                <a:gd name="connsiteX15" fmla="*/ 311150 w 3044825"/>
                <a:gd name="connsiteY15" fmla="*/ 898525 h 2266950"/>
                <a:gd name="connsiteX16" fmla="*/ 279400 w 3044825"/>
                <a:gd name="connsiteY16" fmla="*/ 889000 h 2266950"/>
                <a:gd name="connsiteX17" fmla="*/ 269875 w 3044825"/>
                <a:gd name="connsiteY17" fmla="*/ 850900 h 2266950"/>
                <a:gd name="connsiteX18" fmla="*/ 250825 w 3044825"/>
                <a:gd name="connsiteY18" fmla="*/ 828675 h 2266950"/>
                <a:gd name="connsiteX19" fmla="*/ 234950 w 3044825"/>
                <a:gd name="connsiteY19" fmla="*/ 793750 h 2266950"/>
                <a:gd name="connsiteX20" fmla="*/ 190500 w 3044825"/>
                <a:gd name="connsiteY20" fmla="*/ 796925 h 2266950"/>
                <a:gd name="connsiteX21" fmla="*/ 142875 w 3044825"/>
                <a:gd name="connsiteY21" fmla="*/ 822325 h 2266950"/>
                <a:gd name="connsiteX22" fmla="*/ 139700 w 3044825"/>
                <a:gd name="connsiteY22" fmla="*/ 860425 h 2266950"/>
                <a:gd name="connsiteX23" fmla="*/ 114300 w 3044825"/>
                <a:gd name="connsiteY23" fmla="*/ 863600 h 2266950"/>
                <a:gd name="connsiteX24" fmla="*/ 104775 w 3044825"/>
                <a:gd name="connsiteY24" fmla="*/ 838200 h 2266950"/>
                <a:gd name="connsiteX25" fmla="*/ 73025 w 3044825"/>
                <a:gd name="connsiteY25" fmla="*/ 828675 h 2266950"/>
                <a:gd name="connsiteX26" fmla="*/ 50800 w 3044825"/>
                <a:gd name="connsiteY26" fmla="*/ 850900 h 2266950"/>
                <a:gd name="connsiteX27" fmla="*/ 60325 w 3044825"/>
                <a:gd name="connsiteY27" fmla="*/ 898525 h 2266950"/>
                <a:gd name="connsiteX28" fmla="*/ 41275 w 3044825"/>
                <a:gd name="connsiteY28" fmla="*/ 962025 h 2266950"/>
                <a:gd name="connsiteX29" fmla="*/ 47625 w 3044825"/>
                <a:gd name="connsiteY29" fmla="*/ 1016000 h 2266950"/>
                <a:gd name="connsiteX30" fmla="*/ 44450 w 3044825"/>
                <a:gd name="connsiteY30" fmla="*/ 1050925 h 2266950"/>
                <a:gd name="connsiteX31" fmla="*/ 63500 w 3044825"/>
                <a:gd name="connsiteY31" fmla="*/ 1095375 h 2266950"/>
                <a:gd name="connsiteX32" fmla="*/ 79375 w 3044825"/>
                <a:gd name="connsiteY32" fmla="*/ 1130300 h 2266950"/>
                <a:gd name="connsiteX33" fmla="*/ 50800 w 3044825"/>
                <a:gd name="connsiteY33" fmla="*/ 1155700 h 2266950"/>
                <a:gd name="connsiteX34" fmla="*/ 15875 w 3044825"/>
                <a:gd name="connsiteY34" fmla="*/ 1181100 h 2266950"/>
                <a:gd name="connsiteX35" fmla="*/ 0 w 3044825"/>
                <a:gd name="connsiteY35" fmla="*/ 1216025 h 2266950"/>
                <a:gd name="connsiteX36" fmla="*/ 60325 w 3044825"/>
                <a:gd name="connsiteY36" fmla="*/ 1209675 h 2266950"/>
                <a:gd name="connsiteX37" fmla="*/ 127000 w 3044825"/>
                <a:gd name="connsiteY37" fmla="*/ 1228725 h 2266950"/>
                <a:gd name="connsiteX38" fmla="*/ 177800 w 3044825"/>
                <a:gd name="connsiteY38" fmla="*/ 1273175 h 2266950"/>
                <a:gd name="connsiteX39" fmla="*/ 180975 w 3044825"/>
                <a:gd name="connsiteY39" fmla="*/ 1349375 h 2266950"/>
                <a:gd name="connsiteX40" fmla="*/ 174625 w 3044825"/>
                <a:gd name="connsiteY40" fmla="*/ 1425575 h 2266950"/>
                <a:gd name="connsiteX41" fmla="*/ 219075 w 3044825"/>
                <a:gd name="connsiteY41" fmla="*/ 1457325 h 2266950"/>
                <a:gd name="connsiteX42" fmla="*/ 492125 w 3044825"/>
                <a:gd name="connsiteY42" fmla="*/ 1073150 h 2266950"/>
                <a:gd name="connsiteX43" fmla="*/ 720725 w 3044825"/>
                <a:gd name="connsiteY43" fmla="*/ 1143000 h 2266950"/>
                <a:gd name="connsiteX44" fmla="*/ 844550 w 3044825"/>
                <a:gd name="connsiteY44" fmla="*/ 1498600 h 2266950"/>
                <a:gd name="connsiteX45" fmla="*/ 936625 w 3044825"/>
                <a:gd name="connsiteY45" fmla="*/ 1524000 h 2266950"/>
                <a:gd name="connsiteX46" fmla="*/ 1016000 w 3044825"/>
                <a:gd name="connsiteY46" fmla="*/ 1574800 h 2266950"/>
                <a:gd name="connsiteX47" fmla="*/ 1060450 w 3044825"/>
                <a:gd name="connsiteY47" fmla="*/ 1568450 h 2266950"/>
                <a:gd name="connsiteX48" fmla="*/ 1085850 w 3044825"/>
                <a:gd name="connsiteY48" fmla="*/ 1600200 h 2266950"/>
                <a:gd name="connsiteX49" fmla="*/ 1085850 w 3044825"/>
                <a:gd name="connsiteY49" fmla="*/ 1651000 h 2266950"/>
                <a:gd name="connsiteX50" fmla="*/ 1111250 w 3044825"/>
                <a:gd name="connsiteY50" fmla="*/ 1695450 h 2266950"/>
                <a:gd name="connsiteX51" fmla="*/ 1092200 w 3044825"/>
                <a:gd name="connsiteY51" fmla="*/ 1720850 h 2266950"/>
                <a:gd name="connsiteX52" fmla="*/ 1114425 w 3044825"/>
                <a:gd name="connsiteY52" fmla="*/ 1746250 h 2266950"/>
                <a:gd name="connsiteX53" fmla="*/ 1111250 w 3044825"/>
                <a:gd name="connsiteY53" fmla="*/ 1790700 h 2266950"/>
                <a:gd name="connsiteX54" fmla="*/ 1095375 w 3044825"/>
                <a:gd name="connsiteY54" fmla="*/ 1825625 h 2266950"/>
                <a:gd name="connsiteX55" fmla="*/ 1069975 w 3044825"/>
                <a:gd name="connsiteY55" fmla="*/ 1828800 h 2266950"/>
                <a:gd name="connsiteX56" fmla="*/ 1069975 w 3044825"/>
                <a:gd name="connsiteY56" fmla="*/ 1863725 h 2266950"/>
                <a:gd name="connsiteX57" fmla="*/ 1098550 w 3044825"/>
                <a:gd name="connsiteY57" fmla="*/ 1895475 h 2266950"/>
                <a:gd name="connsiteX58" fmla="*/ 1104900 w 3044825"/>
                <a:gd name="connsiteY58" fmla="*/ 1952625 h 2266950"/>
                <a:gd name="connsiteX59" fmla="*/ 1165225 w 3044825"/>
                <a:gd name="connsiteY59" fmla="*/ 1987550 h 2266950"/>
                <a:gd name="connsiteX60" fmla="*/ 1187450 w 3044825"/>
                <a:gd name="connsiteY60" fmla="*/ 2032000 h 2266950"/>
                <a:gd name="connsiteX61" fmla="*/ 1212850 w 3044825"/>
                <a:gd name="connsiteY61" fmla="*/ 2073275 h 2266950"/>
                <a:gd name="connsiteX62" fmla="*/ 1257300 w 3044825"/>
                <a:gd name="connsiteY62" fmla="*/ 2085975 h 2266950"/>
                <a:gd name="connsiteX63" fmla="*/ 1285875 w 3044825"/>
                <a:gd name="connsiteY63" fmla="*/ 2044700 h 2266950"/>
                <a:gd name="connsiteX64" fmla="*/ 1355725 w 3044825"/>
                <a:gd name="connsiteY64" fmla="*/ 2025650 h 2266950"/>
                <a:gd name="connsiteX65" fmla="*/ 1416050 w 3044825"/>
                <a:gd name="connsiteY65" fmla="*/ 1987550 h 2266950"/>
                <a:gd name="connsiteX66" fmla="*/ 1514475 w 3044825"/>
                <a:gd name="connsiteY66" fmla="*/ 1958975 h 2266950"/>
                <a:gd name="connsiteX67" fmla="*/ 1590675 w 3044825"/>
                <a:gd name="connsiteY67" fmla="*/ 1949450 h 2266950"/>
                <a:gd name="connsiteX68" fmla="*/ 1619250 w 3044825"/>
                <a:gd name="connsiteY68" fmla="*/ 1984375 h 2266950"/>
                <a:gd name="connsiteX69" fmla="*/ 1736725 w 3044825"/>
                <a:gd name="connsiteY69" fmla="*/ 2012950 h 2266950"/>
                <a:gd name="connsiteX70" fmla="*/ 1835150 w 3044825"/>
                <a:gd name="connsiteY70" fmla="*/ 1981200 h 2266950"/>
                <a:gd name="connsiteX71" fmla="*/ 1889125 w 3044825"/>
                <a:gd name="connsiteY71" fmla="*/ 2025650 h 2266950"/>
                <a:gd name="connsiteX72" fmla="*/ 1927225 w 3044825"/>
                <a:gd name="connsiteY72" fmla="*/ 2063750 h 2266950"/>
                <a:gd name="connsiteX73" fmla="*/ 1958975 w 3044825"/>
                <a:gd name="connsiteY73" fmla="*/ 2051050 h 2266950"/>
                <a:gd name="connsiteX74" fmla="*/ 2025650 w 3044825"/>
                <a:gd name="connsiteY74" fmla="*/ 2092325 h 2266950"/>
                <a:gd name="connsiteX75" fmla="*/ 2085975 w 3044825"/>
                <a:gd name="connsiteY75" fmla="*/ 2092325 h 2266950"/>
                <a:gd name="connsiteX76" fmla="*/ 2149475 w 3044825"/>
                <a:gd name="connsiteY76" fmla="*/ 2133600 h 2266950"/>
                <a:gd name="connsiteX77" fmla="*/ 2247900 w 3044825"/>
                <a:gd name="connsiteY77" fmla="*/ 2146300 h 2266950"/>
                <a:gd name="connsiteX78" fmla="*/ 2270125 w 3044825"/>
                <a:gd name="connsiteY78" fmla="*/ 2193925 h 2266950"/>
                <a:gd name="connsiteX79" fmla="*/ 2330450 w 3044825"/>
                <a:gd name="connsiteY79" fmla="*/ 2266950 h 2266950"/>
                <a:gd name="connsiteX80" fmla="*/ 2390775 w 3044825"/>
                <a:gd name="connsiteY80" fmla="*/ 2212975 h 2266950"/>
                <a:gd name="connsiteX81" fmla="*/ 2387600 w 3044825"/>
                <a:gd name="connsiteY81" fmla="*/ 2155825 h 2266950"/>
                <a:gd name="connsiteX82" fmla="*/ 2422525 w 3044825"/>
                <a:gd name="connsiteY82" fmla="*/ 2120900 h 2266950"/>
                <a:gd name="connsiteX83" fmla="*/ 2422525 w 3044825"/>
                <a:gd name="connsiteY83" fmla="*/ 2041525 h 2266950"/>
                <a:gd name="connsiteX84" fmla="*/ 2444750 w 3044825"/>
                <a:gd name="connsiteY84" fmla="*/ 1968500 h 2266950"/>
                <a:gd name="connsiteX85" fmla="*/ 2393950 w 3044825"/>
                <a:gd name="connsiteY85" fmla="*/ 1952625 h 2266950"/>
                <a:gd name="connsiteX86" fmla="*/ 2460625 w 3044825"/>
                <a:gd name="connsiteY86" fmla="*/ 1917700 h 2266950"/>
                <a:gd name="connsiteX87" fmla="*/ 2520950 w 3044825"/>
                <a:gd name="connsiteY87" fmla="*/ 1924050 h 2266950"/>
                <a:gd name="connsiteX88" fmla="*/ 2574925 w 3044825"/>
                <a:gd name="connsiteY88" fmla="*/ 1955800 h 2266950"/>
                <a:gd name="connsiteX89" fmla="*/ 2622550 w 3044825"/>
                <a:gd name="connsiteY89" fmla="*/ 1936750 h 2266950"/>
                <a:gd name="connsiteX90" fmla="*/ 2628900 w 3044825"/>
                <a:gd name="connsiteY90" fmla="*/ 1905000 h 2266950"/>
                <a:gd name="connsiteX91" fmla="*/ 2613025 w 3044825"/>
                <a:gd name="connsiteY91" fmla="*/ 1866900 h 2266950"/>
                <a:gd name="connsiteX92" fmla="*/ 2654300 w 3044825"/>
                <a:gd name="connsiteY92" fmla="*/ 1806575 h 2266950"/>
                <a:gd name="connsiteX93" fmla="*/ 2667000 w 3044825"/>
                <a:gd name="connsiteY93" fmla="*/ 1755775 h 2266950"/>
                <a:gd name="connsiteX94" fmla="*/ 2698750 w 3044825"/>
                <a:gd name="connsiteY94" fmla="*/ 1724025 h 2266950"/>
                <a:gd name="connsiteX95" fmla="*/ 2762250 w 3044825"/>
                <a:gd name="connsiteY95" fmla="*/ 1752600 h 2266950"/>
                <a:gd name="connsiteX96" fmla="*/ 2813050 w 3044825"/>
                <a:gd name="connsiteY96" fmla="*/ 1749425 h 2266950"/>
                <a:gd name="connsiteX97" fmla="*/ 2838450 w 3044825"/>
                <a:gd name="connsiteY97" fmla="*/ 1787525 h 2266950"/>
                <a:gd name="connsiteX98" fmla="*/ 2908300 w 3044825"/>
                <a:gd name="connsiteY98" fmla="*/ 1746250 h 2266950"/>
                <a:gd name="connsiteX99" fmla="*/ 2908300 w 3044825"/>
                <a:gd name="connsiteY99" fmla="*/ 1676400 h 2266950"/>
                <a:gd name="connsiteX100" fmla="*/ 2933700 w 3044825"/>
                <a:gd name="connsiteY100" fmla="*/ 1603375 h 2266950"/>
                <a:gd name="connsiteX101" fmla="*/ 3022600 w 3044825"/>
                <a:gd name="connsiteY101" fmla="*/ 1593850 h 2266950"/>
                <a:gd name="connsiteX102" fmla="*/ 3044825 w 3044825"/>
                <a:gd name="connsiteY102" fmla="*/ 1549400 h 2266950"/>
                <a:gd name="connsiteX103" fmla="*/ 3035300 w 3044825"/>
                <a:gd name="connsiteY103" fmla="*/ 1520825 h 2266950"/>
                <a:gd name="connsiteX104" fmla="*/ 3009900 w 3044825"/>
                <a:gd name="connsiteY104" fmla="*/ 1498600 h 2266950"/>
                <a:gd name="connsiteX105" fmla="*/ 2952750 w 3044825"/>
                <a:gd name="connsiteY105" fmla="*/ 1495425 h 2266950"/>
                <a:gd name="connsiteX106" fmla="*/ 2879725 w 3044825"/>
                <a:gd name="connsiteY106" fmla="*/ 1479550 h 2266950"/>
                <a:gd name="connsiteX107" fmla="*/ 2879725 w 3044825"/>
                <a:gd name="connsiteY107" fmla="*/ 1444625 h 2266950"/>
                <a:gd name="connsiteX108" fmla="*/ 2860675 w 3044825"/>
                <a:gd name="connsiteY108" fmla="*/ 1416050 h 2266950"/>
                <a:gd name="connsiteX109" fmla="*/ 2860675 w 3044825"/>
                <a:gd name="connsiteY109" fmla="*/ 1377950 h 2266950"/>
                <a:gd name="connsiteX110" fmla="*/ 2819400 w 3044825"/>
                <a:gd name="connsiteY110" fmla="*/ 1377950 h 2266950"/>
                <a:gd name="connsiteX111" fmla="*/ 2809875 w 3044825"/>
                <a:gd name="connsiteY111" fmla="*/ 1282700 h 2266950"/>
                <a:gd name="connsiteX112" fmla="*/ 2743200 w 3044825"/>
                <a:gd name="connsiteY112" fmla="*/ 1289050 h 2266950"/>
                <a:gd name="connsiteX113" fmla="*/ 2682875 w 3044825"/>
                <a:gd name="connsiteY113" fmla="*/ 1282700 h 2266950"/>
                <a:gd name="connsiteX114" fmla="*/ 2641600 w 3044825"/>
                <a:gd name="connsiteY114" fmla="*/ 1244600 h 2266950"/>
                <a:gd name="connsiteX115" fmla="*/ 2606675 w 3044825"/>
                <a:gd name="connsiteY115" fmla="*/ 1168400 h 2266950"/>
                <a:gd name="connsiteX116" fmla="*/ 2568575 w 3044825"/>
                <a:gd name="connsiteY116" fmla="*/ 1171575 h 2266950"/>
                <a:gd name="connsiteX117" fmla="*/ 2562225 w 3044825"/>
                <a:gd name="connsiteY117" fmla="*/ 1219200 h 2266950"/>
                <a:gd name="connsiteX118" fmla="*/ 2536825 w 3044825"/>
                <a:gd name="connsiteY118" fmla="*/ 1209675 h 2266950"/>
                <a:gd name="connsiteX119" fmla="*/ 2517775 w 3044825"/>
                <a:gd name="connsiteY119" fmla="*/ 1231900 h 2266950"/>
                <a:gd name="connsiteX120" fmla="*/ 2505075 w 3044825"/>
                <a:gd name="connsiteY120" fmla="*/ 1193800 h 2266950"/>
                <a:gd name="connsiteX121" fmla="*/ 2505075 w 3044825"/>
                <a:gd name="connsiteY121" fmla="*/ 1143000 h 2266950"/>
                <a:gd name="connsiteX122" fmla="*/ 2524125 w 3044825"/>
                <a:gd name="connsiteY122" fmla="*/ 1120775 h 2266950"/>
                <a:gd name="connsiteX123" fmla="*/ 2520950 w 3044825"/>
                <a:gd name="connsiteY123" fmla="*/ 1066800 h 2266950"/>
                <a:gd name="connsiteX124" fmla="*/ 2489200 w 3044825"/>
                <a:gd name="connsiteY124" fmla="*/ 1022350 h 2266950"/>
                <a:gd name="connsiteX125" fmla="*/ 2473325 w 3044825"/>
                <a:gd name="connsiteY125" fmla="*/ 942975 h 2266950"/>
                <a:gd name="connsiteX126" fmla="*/ 2444750 w 3044825"/>
                <a:gd name="connsiteY126" fmla="*/ 866775 h 2266950"/>
                <a:gd name="connsiteX127" fmla="*/ 2400300 w 3044825"/>
                <a:gd name="connsiteY127" fmla="*/ 828675 h 2266950"/>
                <a:gd name="connsiteX128" fmla="*/ 2406650 w 3044825"/>
                <a:gd name="connsiteY128" fmla="*/ 768350 h 2266950"/>
                <a:gd name="connsiteX129" fmla="*/ 2387600 w 3044825"/>
                <a:gd name="connsiteY129" fmla="*/ 739775 h 2266950"/>
                <a:gd name="connsiteX130" fmla="*/ 2339975 w 3044825"/>
                <a:gd name="connsiteY130" fmla="*/ 755650 h 2266950"/>
                <a:gd name="connsiteX131" fmla="*/ 2295525 w 3044825"/>
                <a:gd name="connsiteY131" fmla="*/ 746125 h 2266950"/>
                <a:gd name="connsiteX132" fmla="*/ 2263775 w 3044825"/>
                <a:gd name="connsiteY132" fmla="*/ 774700 h 2266950"/>
                <a:gd name="connsiteX133" fmla="*/ 2235200 w 3044825"/>
                <a:gd name="connsiteY133" fmla="*/ 758825 h 2266950"/>
                <a:gd name="connsiteX134" fmla="*/ 2206625 w 3044825"/>
                <a:gd name="connsiteY134" fmla="*/ 758825 h 2266950"/>
                <a:gd name="connsiteX135" fmla="*/ 2159000 w 3044825"/>
                <a:gd name="connsiteY135" fmla="*/ 701675 h 2266950"/>
                <a:gd name="connsiteX136" fmla="*/ 2092325 w 3044825"/>
                <a:gd name="connsiteY136" fmla="*/ 669925 h 2266950"/>
                <a:gd name="connsiteX137" fmla="*/ 2073275 w 3044825"/>
                <a:gd name="connsiteY137" fmla="*/ 625475 h 2266950"/>
                <a:gd name="connsiteX138" fmla="*/ 2073275 w 3044825"/>
                <a:gd name="connsiteY138" fmla="*/ 558800 h 2266950"/>
                <a:gd name="connsiteX139" fmla="*/ 2063750 w 3044825"/>
                <a:gd name="connsiteY139" fmla="*/ 517525 h 2266950"/>
                <a:gd name="connsiteX140" fmla="*/ 2092325 w 3044825"/>
                <a:gd name="connsiteY140" fmla="*/ 498475 h 2266950"/>
                <a:gd name="connsiteX141" fmla="*/ 2085975 w 3044825"/>
                <a:gd name="connsiteY141" fmla="*/ 476250 h 2266950"/>
                <a:gd name="connsiteX142" fmla="*/ 2019300 w 3044825"/>
                <a:gd name="connsiteY142" fmla="*/ 476250 h 2266950"/>
                <a:gd name="connsiteX143" fmla="*/ 2012950 w 3044825"/>
                <a:gd name="connsiteY143" fmla="*/ 441325 h 2266950"/>
                <a:gd name="connsiteX144" fmla="*/ 1965325 w 3044825"/>
                <a:gd name="connsiteY144" fmla="*/ 425450 h 2266950"/>
                <a:gd name="connsiteX145" fmla="*/ 1914525 w 3044825"/>
                <a:gd name="connsiteY145" fmla="*/ 434975 h 2266950"/>
                <a:gd name="connsiteX146" fmla="*/ 1835150 w 3044825"/>
                <a:gd name="connsiteY146" fmla="*/ 428625 h 2266950"/>
                <a:gd name="connsiteX147" fmla="*/ 1806575 w 3044825"/>
                <a:gd name="connsiteY147" fmla="*/ 400050 h 2266950"/>
                <a:gd name="connsiteX148" fmla="*/ 1730375 w 3044825"/>
                <a:gd name="connsiteY148" fmla="*/ 409575 h 2266950"/>
                <a:gd name="connsiteX149" fmla="*/ 1692275 w 3044825"/>
                <a:gd name="connsiteY149" fmla="*/ 377825 h 2266950"/>
                <a:gd name="connsiteX150" fmla="*/ 1631950 w 3044825"/>
                <a:gd name="connsiteY150" fmla="*/ 371475 h 2266950"/>
                <a:gd name="connsiteX151" fmla="*/ 1555750 w 3044825"/>
                <a:gd name="connsiteY151" fmla="*/ 327025 h 2266950"/>
                <a:gd name="connsiteX152" fmla="*/ 1511300 w 3044825"/>
                <a:gd name="connsiteY152" fmla="*/ 336550 h 2266950"/>
                <a:gd name="connsiteX153" fmla="*/ 1466850 w 3044825"/>
                <a:gd name="connsiteY153" fmla="*/ 314325 h 2266950"/>
                <a:gd name="connsiteX154" fmla="*/ 1431925 w 3044825"/>
                <a:gd name="connsiteY154" fmla="*/ 279400 h 2266950"/>
                <a:gd name="connsiteX155" fmla="*/ 1400175 w 3044825"/>
                <a:gd name="connsiteY155" fmla="*/ 285750 h 2266950"/>
                <a:gd name="connsiteX156" fmla="*/ 1422400 w 3044825"/>
                <a:gd name="connsiteY156" fmla="*/ 336550 h 2266950"/>
                <a:gd name="connsiteX157" fmla="*/ 1400175 w 3044825"/>
                <a:gd name="connsiteY157" fmla="*/ 346075 h 2266950"/>
                <a:gd name="connsiteX158" fmla="*/ 1428750 w 3044825"/>
                <a:gd name="connsiteY158" fmla="*/ 409575 h 2266950"/>
                <a:gd name="connsiteX159" fmla="*/ 1374775 w 3044825"/>
                <a:gd name="connsiteY159" fmla="*/ 441325 h 2266950"/>
                <a:gd name="connsiteX160" fmla="*/ 1336675 w 3044825"/>
                <a:gd name="connsiteY160" fmla="*/ 406400 h 2266950"/>
                <a:gd name="connsiteX161" fmla="*/ 1298575 w 3044825"/>
                <a:gd name="connsiteY161" fmla="*/ 444500 h 2266950"/>
                <a:gd name="connsiteX162" fmla="*/ 1250950 w 3044825"/>
                <a:gd name="connsiteY162" fmla="*/ 463550 h 2266950"/>
                <a:gd name="connsiteX163" fmla="*/ 1247775 w 3044825"/>
                <a:gd name="connsiteY163" fmla="*/ 539750 h 2266950"/>
                <a:gd name="connsiteX164" fmla="*/ 1282700 w 3044825"/>
                <a:gd name="connsiteY164" fmla="*/ 584200 h 2266950"/>
                <a:gd name="connsiteX165" fmla="*/ 1222375 w 3044825"/>
                <a:gd name="connsiteY165" fmla="*/ 606425 h 2266950"/>
                <a:gd name="connsiteX166" fmla="*/ 1158875 w 3044825"/>
                <a:gd name="connsiteY166" fmla="*/ 571500 h 2266950"/>
                <a:gd name="connsiteX167" fmla="*/ 1101725 w 3044825"/>
                <a:gd name="connsiteY167" fmla="*/ 568325 h 2266950"/>
                <a:gd name="connsiteX168" fmla="*/ 1047750 w 3044825"/>
                <a:gd name="connsiteY168" fmla="*/ 542925 h 2266950"/>
                <a:gd name="connsiteX169" fmla="*/ 1012825 w 3044825"/>
                <a:gd name="connsiteY169" fmla="*/ 488950 h 2266950"/>
                <a:gd name="connsiteX170" fmla="*/ 1022350 w 3044825"/>
                <a:gd name="connsiteY170" fmla="*/ 460375 h 2266950"/>
                <a:gd name="connsiteX171" fmla="*/ 1003300 w 3044825"/>
                <a:gd name="connsiteY171" fmla="*/ 441325 h 2266950"/>
                <a:gd name="connsiteX172" fmla="*/ 981075 w 3044825"/>
                <a:gd name="connsiteY172" fmla="*/ 450850 h 2266950"/>
                <a:gd name="connsiteX173" fmla="*/ 952500 w 3044825"/>
                <a:gd name="connsiteY173" fmla="*/ 406400 h 2266950"/>
                <a:gd name="connsiteX174" fmla="*/ 917575 w 3044825"/>
                <a:gd name="connsiteY174" fmla="*/ 390525 h 2266950"/>
                <a:gd name="connsiteX175" fmla="*/ 825500 w 3044825"/>
                <a:gd name="connsiteY175" fmla="*/ 387350 h 2266950"/>
                <a:gd name="connsiteX176" fmla="*/ 828675 w 3044825"/>
                <a:gd name="connsiteY176" fmla="*/ 352425 h 2266950"/>
                <a:gd name="connsiteX177" fmla="*/ 793750 w 3044825"/>
                <a:gd name="connsiteY177" fmla="*/ 314325 h 2266950"/>
                <a:gd name="connsiteX178" fmla="*/ 777875 w 3044825"/>
                <a:gd name="connsiteY178" fmla="*/ 336550 h 2266950"/>
                <a:gd name="connsiteX179" fmla="*/ 749300 w 3044825"/>
                <a:gd name="connsiteY179" fmla="*/ 279400 h 2266950"/>
                <a:gd name="connsiteX180" fmla="*/ 771525 w 3044825"/>
                <a:gd name="connsiteY180" fmla="*/ 260350 h 2266950"/>
                <a:gd name="connsiteX181" fmla="*/ 774700 w 3044825"/>
                <a:gd name="connsiteY181" fmla="*/ 200025 h 2266950"/>
                <a:gd name="connsiteX182" fmla="*/ 739775 w 3044825"/>
                <a:gd name="connsiteY182" fmla="*/ 165100 h 2266950"/>
                <a:gd name="connsiteX183" fmla="*/ 720725 w 3044825"/>
                <a:gd name="connsiteY183" fmla="*/ 120650 h 2266950"/>
                <a:gd name="connsiteX184" fmla="*/ 685800 w 3044825"/>
                <a:gd name="connsiteY184" fmla="*/ 101600 h 2266950"/>
                <a:gd name="connsiteX185" fmla="*/ 676275 w 3044825"/>
                <a:gd name="connsiteY185" fmla="*/ 111125 h 2266950"/>
                <a:gd name="connsiteX186" fmla="*/ 647700 w 3044825"/>
                <a:gd name="connsiteY186" fmla="*/ 107950 h 2266950"/>
                <a:gd name="connsiteX187" fmla="*/ 650875 w 3044825"/>
                <a:gd name="connsiteY187" fmla="*/ 63500 h 2266950"/>
                <a:gd name="connsiteX188" fmla="*/ 631825 w 3044825"/>
                <a:gd name="connsiteY188" fmla="*/ 50800 h 2266950"/>
                <a:gd name="connsiteX189" fmla="*/ 476250 w 3044825"/>
                <a:gd name="connsiteY189" fmla="*/ 38100 h 2266950"/>
                <a:gd name="connsiteX190" fmla="*/ 460375 w 3044825"/>
                <a:gd name="connsiteY190" fmla="*/ 60325 h 2266950"/>
                <a:gd name="connsiteX191" fmla="*/ 431800 w 3044825"/>
                <a:gd name="connsiteY191" fmla="*/ 50800 h 2266950"/>
                <a:gd name="connsiteX192" fmla="*/ 415925 w 3044825"/>
                <a:gd name="connsiteY192" fmla="*/ 79375 h 2266950"/>
                <a:gd name="connsiteX193" fmla="*/ 377825 w 3044825"/>
                <a:gd name="connsiteY193" fmla="*/ 92075 h 2266950"/>
                <a:gd name="connsiteX194" fmla="*/ 342900 w 3044825"/>
                <a:gd name="connsiteY194" fmla="*/ 31750 h 2266950"/>
                <a:gd name="connsiteX195" fmla="*/ 311150 w 3044825"/>
                <a:gd name="connsiteY195" fmla="*/ 0 h 2266950"/>
                <a:gd name="connsiteX196" fmla="*/ 228600 w 3044825"/>
                <a:gd name="connsiteY196" fmla="*/ 31750 h 2266950"/>
                <a:gd name="connsiteX197" fmla="*/ 165100 w 3044825"/>
                <a:gd name="connsiteY197" fmla="*/ 88900 h 2266950"/>
                <a:gd name="connsiteX198" fmla="*/ 111125 w 3044825"/>
                <a:gd name="connsiteY198" fmla="*/ 79375 h 2266950"/>
                <a:gd name="connsiteX199" fmla="*/ 111125 w 3044825"/>
                <a:gd name="connsiteY199" fmla="*/ 142875 h 2266950"/>
                <a:gd name="connsiteX200" fmla="*/ 152400 w 3044825"/>
                <a:gd name="connsiteY200" fmla="*/ 215900 h 2266950"/>
                <a:gd name="connsiteX201" fmla="*/ 127000 w 3044825"/>
                <a:gd name="connsiteY201" fmla="*/ 247650 h 2266950"/>
                <a:gd name="connsiteX202" fmla="*/ 152400 w 3044825"/>
                <a:gd name="connsiteY202" fmla="*/ 276225 h 2266950"/>
                <a:gd name="connsiteX203" fmla="*/ 136525 w 3044825"/>
                <a:gd name="connsiteY203" fmla="*/ 307975 h 2266950"/>
                <a:gd name="connsiteX204" fmla="*/ 142875 w 3044825"/>
                <a:gd name="connsiteY204" fmla="*/ 336550 h 2266950"/>
                <a:gd name="connsiteX205" fmla="*/ 107950 w 3044825"/>
                <a:gd name="connsiteY205" fmla="*/ 387350 h 2266950"/>
                <a:gd name="connsiteX206" fmla="*/ 114300 w 3044825"/>
                <a:gd name="connsiteY206" fmla="*/ 441325 h 2266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</a:cxnLst>
              <a:rect l="l" t="t" r="r" b="b"/>
              <a:pathLst>
                <a:path w="3044825" h="2266950">
                  <a:moveTo>
                    <a:pt x="114300" y="441325"/>
                  </a:moveTo>
                  <a:lnTo>
                    <a:pt x="82550" y="514350"/>
                  </a:lnTo>
                  <a:lnTo>
                    <a:pt x="88900" y="568325"/>
                  </a:lnTo>
                  <a:lnTo>
                    <a:pt x="152400" y="542925"/>
                  </a:lnTo>
                  <a:lnTo>
                    <a:pt x="190500" y="581025"/>
                  </a:lnTo>
                  <a:lnTo>
                    <a:pt x="292100" y="577850"/>
                  </a:lnTo>
                  <a:lnTo>
                    <a:pt x="346075" y="609600"/>
                  </a:lnTo>
                  <a:lnTo>
                    <a:pt x="346075" y="647700"/>
                  </a:lnTo>
                  <a:lnTo>
                    <a:pt x="396875" y="688975"/>
                  </a:lnTo>
                  <a:lnTo>
                    <a:pt x="403225" y="742950"/>
                  </a:lnTo>
                  <a:lnTo>
                    <a:pt x="387350" y="784225"/>
                  </a:lnTo>
                  <a:lnTo>
                    <a:pt x="358775" y="800100"/>
                  </a:lnTo>
                  <a:lnTo>
                    <a:pt x="339725" y="835025"/>
                  </a:lnTo>
                  <a:lnTo>
                    <a:pt x="307975" y="831850"/>
                  </a:lnTo>
                  <a:lnTo>
                    <a:pt x="317500" y="866775"/>
                  </a:lnTo>
                  <a:lnTo>
                    <a:pt x="311150" y="898525"/>
                  </a:lnTo>
                  <a:lnTo>
                    <a:pt x="279400" y="889000"/>
                  </a:lnTo>
                  <a:lnTo>
                    <a:pt x="269875" y="850900"/>
                  </a:lnTo>
                  <a:lnTo>
                    <a:pt x="250825" y="828675"/>
                  </a:lnTo>
                  <a:lnTo>
                    <a:pt x="234950" y="793750"/>
                  </a:lnTo>
                  <a:lnTo>
                    <a:pt x="190500" y="796925"/>
                  </a:lnTo>
                  <a:lnTo>
                    <a:pt x="142875" y="822325"/>
                  </a:lnTo>
                  <a:lnTo>
                    <a:pt x="139700" y="860425"/>
                  </a:lnTo>
                  <a:lnTo>
                    <a:pt x="114300" y="863600"/>
                  </a:lnTo>
                  <a:lnTo>
                    <a:pt x="104775" y="838200"/>
                  </a:lnTo>
                  <a:lnTo>
                    <a:pt x="73025" y="828675"/>
                  </a:lnTo>
                  <a:lnTo>
                    <a:pt x="50800" y="850900"/>
                  </a:lnTo>
                  <a:lnTo>
                    <a:pt x="60325" y="898525"/>
                  </a:lnTo>
                  <a:lnTo>
                    <a:pt x="41275" y="962025"/>
                  </a:lnTo>
                  <a:lnTo>
                    <a:pt x="47625" y="1016000"/>
                  </a:lnTo>
                  <a:lnTo>
                    <a:pt x="44450" y="1050925"/>
                  </a:lnTo>
                  <a:lnTo>
                    <a:pt x="63500" y="1095375"/>
                  </a:lnTo>
                  <a:lnTo>
                    <a:pt x="79375" y="1130300"/>
                  </a:lnTo>
                  <a:lnTo>
                    <a:pt x="50800" y="1155700"/>
                  </a:lnTo>
                  <a:lnTo>
                    <a:pt x="15875" y="1181100"/>
                  </a:lnTo>
                  <a:lnTo>
                    <a:pt x="0" y="1216025"/>
                  </a:lnTo>
                  <a:lnTo>
                    <a:pt x="60325" y="1209675"/>
                  </a:lnTo>
                  <a:lnTo>
                    <a:pt x="127000" y="1228725"/>
                  </a:lnTo>
                  <a:lnTo>
                    <a:pt x="177800" y="1273175"/>
                  </a:lnTo>
                  <a:lnTo>
                    <a:pt x="180975" y="1349375"/>
                  </a:lnTo>
                  <a:lnTo>
                    <a:pt x="174625" y="1425575"/>
                  </a:lnTo>
                  <a:lnTo>
                    <a:pt x="219075" y="1457325"/>
                  </a:lnTo>
                  <a:lnTo>
                    <a:pt x="492125" y="1073150"/>
                  </a:lnTo>
                  <a:lnTo>
                    <a:pt x="720725" y="1143000"/>
                  </a:lnTo>
                  <a:lnTo>
                    <a:pt x="844550" y="1498600"/>
                  </a:lnTo>
                  <a:lnTo>
                    <a:pt x="936625" y="1524000"/>
                  </a:lnTo>
                  <a:lnTo>
                    <a:pt x="1016000" y="1574800"/>
                  </a:lnTo>
                  <a:lnTo>
                    <a:pt x="1060450" y="1568450"/>
                  </a:lnTo>
                  <a:lnTo>
                    <a:pt x="1085850" y="1600200"/>
                  </a:lnTo>
                  <a:lnTo>
                    <a:pt x="1085850" y="1651000"/>
                  </a:lnTo>
                  <a:lnTo>
                    <a:pt x="1111250" y="1695450"/>
                  </a:lnTo>
                  <a:lnTo>
                    <a:pt x="1092200" y="1720850"/>
                  </a:lnTo>
                  <a:lnTo>
                    <a:pt x="1114425" y="1746250"/>
                  </a:lnTo>
                  <a:lnTo>
                    <a:pt x="1111250" y="1790700"/>
                  </a:lnTo>
                  <a:lnTo>
                    <a:pt x="1095375" y="1825625"/>
                  </a:lnTo>
                  <a:lnTo>
                    <a:pt x="1069975" y="1828800"/>
                  </a:lnTo>
                  <a:lnTo>
                    <a:pt x="1069975" y="1863725"/>
                  </a:lnTo>
                  <a:lnTo>
                    <a:pt x="1098550" y="1895475"/>
                  </a:lnTo>
                  <a:lnTo>
                    <a:pt x="1104900" y="1952625"/>
                  </a:lnTo>
                  <a:lnTo>
                    <a:pt x="1165225" y="1987550"/>
                  </a:lnTo>
                  <a:lnTo>
                    <a:pt x="1187450" y="2032000"/>
                  </a:lnTo>
                  <a:lnTo>
                    <a:pt x="1212850" y="2073275"/>
                  </a:lnTo>
                  <a:lnTo>
                    <a:pt x="1257300" y="2085975"/>
                  </a:lnTo>
                  <a:lnTo>
                    <a:pt x="1285875" y="2044700"/>
                  </a:lnTo>
                  <a:lnTo>
                    <a:pt x="1355725" y="2025650"/>
                  </a:lnTo>
                  <a:lnTo>
                    <a:pt x="1416050" y="1987550"/>
                  </a:lnTo>
                  <a:lnTo>
                    <a:pt x="1514475" y="1958975"/>
                  </a:lnTo>
                  <a:lnTo>
                    <a:pt x="1590675" y="1949450"/>
                  </a:lnTo>
                  <a:lnTo>
                    <a:pt x="1619250" y="1984375"/>
                  </a:lnTo>
                  <a:lnTo>
                    <a:pt x="1736725" y="2012950"/>
                  </a:lnTo>
                  <a:lnTo>
                    <a:pt x="1835150" y="1981200"/>
                  </a:lnTo>
                  <a:lnTo>
                    <a:pt x="1889125" y="2025650"/>
                  </a:lnTo>
                  <a:lnTo>
                    <a:pt x="1927225" y="2063750"/>
                  </a:lnTo>
                  <a:lnTo>
                    <a:pt x="1958975" y="2051050"/>
                  </a:lnTo>
                  <a:lnTo>
                    <a:pt x="2025650" y="2092325"/>
                  </a:lnTo>
                  <a:lnTo>
                    <a:pt x="2085975" y="2092325"/>
                  </a:lnTo>
                  <a:lnTo>
                    <a:pt x="2149475" y="2133600"/>
                  </a:lnTo>
                  <a:lnTo>
                    <a:pt x="2247900" y="2146300"/>
                  </a:lnTo>
                  <a:lnTo>
                    <a:pt x="2270125" y="2193925"/>
                  </a:lnTo>
                  <a:lnTo>
                    <a:pt x="2330450" y="2266950"/>
                  </a:lnTo>
                  <a:lnTo>
                    <a:pt x="2390775" y="2212975"/>
                  </a:lnTo>
                  <a:lnTo>
                    <a:pt x="2387600" y="2155825"/>
                  </a:lnTo>
                  <a:lnTo>
                    <a:pt x="2422525" y="2120900"/>
                  </a:lnTo>
                  <a:lnTo>
                    <a:pt x="2422525" y="2041525"/>
                  </a:lnTo>
                  <a:lnTo>
                    <a:pt x="2444750" y="1968500"/>
                  </a:lnTo>
                  <a:lnTo>
                    <a:pt x="2393950" y="1952625"/>
                  </a:lnTo>
                  <a:lnTo>
                    <a:pt x="2460625" y="1917700"/>
                  </a:lnTo>
                  <a:lnTo>
                    <a:pt x="2520950" y="1924050"/>
                  </a:lnTo>
                  <a:lnTo>
                    <a:pt x="2574925" y="1955800"/>
                  </a:lnTo>
                  <a:lnTo>
                    <a:pt x="2622550" y="1936750"/>
                  </a:lnTo>
                  <a:lnTo>
                    <a:pt x="2628900" y="1905000"/>
                  </a:lnTo>
                  <a:lnTo>
                    <a:pt x="2613025" y="1866900"/>
                  </a:lnTo>
                  <a:lnTo>
                    <a:pt x="2654300" y="1806575"/>
                  </a:lnTo>
                  <a:lnTo>
                    <a:pt x="2667000" y="1755775"/>
                  </a:lnTo>
                  <a:lnTo>
                    <a:pt x="2698750" y="1724025"/>
                  </a:lnTo>
                  <a:lnTo>
                    <a:pt x="2762250" y="1752600"/>
                  </a:lnTo>
                  <a:lnTo>
                    <a:pt x="2813050" y="1749425"/>
                  </a:lnTo>
                  <a:lnTo>
                    <a:pt x="2838450" y="1787525"/>
                  </a:lnTo>
                  <a:lnTo>
                    <a:pt x="2908300" y="1746250"/>
                  </a:lnTo>
                  <a:lnTo>
                    <a:pt x="2908300" y="1676400"/>
                  </a:lnTo>
                  <a:lnTo>
                    <a:pt x="2933700" y="1603375"/>
                  </a:lnTo>
                  <a:lnTo>
                    <a:pt x="3022600" y="1593850"/>
                  </a:lnTo>
                  <a:lnTo>
                    <a:pt x="3044825" y="1549400"/>
                  </a:lnTo>
                  <a:lnTo>
                    <a:pt x="3035300" y="1520825"/>
                  </a:lnTo>
                  <a:lnTo>
                    <a:pt x="3009900" y="1498600"/>
                  </a:lnTo>
                  <a:lnTo>
                    <a:pt x="2952750" y="1495425"/>
                  </a:lnTo>
                  <a:lnTo>
                    <a:pt x="2879725" y="1479550"/>
                  </a:lnTo>
                  <a:lnTo>
                    <a:pt x="2879725" y="1444625"/>
                  </a:lnTo>
                  <a:lnTo>
                    <a:pt x="2860675" y="1416050"/>
                  </a:lnTo>
                  <a:lnTo>
                    <a:pt x="2860675" y="1377950"/>
                  </a:lnTo>
                  <a:lnTo>
                    <a:pt x="2819400" y="1377950"/>
                  </a:lnTo>
                  <a:lnTo>
                    <a:pt x="2809875" y="1282700"/>
                  </a:lnTo>
                  <a:lnTo>
                    <a:pt x="2743200" y="1289050"/>
                  </a:lnTo>
                  <a:lnTo>
                    <a:pt x="2682875" y="1282700"/>
                  </a:lnTo>
                  <a:lnTo>
                    <a:pt x="2641600" y="1244600"/>
                  </a:lnTo>
                  <a:lnTo>
                    <a:pt x="2606675" y="1168400"/>
                  </a:lnTo>
                  <a:lnTo>
                    <a:pt x="2568575" y="1171575"/>
                  </a:lnTo>
                  <a:lnTo>
                    <a:pt x="2562225" y="1219200"/>
                  </a:lnTo>
                  <a:lnTo>
                    <a:pt x="2536825" y="1209675"/>
                  </a:lnTo>
                  <a:lnTo>
                    <a:pt x="2517775" y="1231900"/>
                  </a:lnTo>
                  <a:lnTo>
                    <a:pt x="2505075" y="1193800"/>
                  </a:lnTo>
                  <a:lnTo>
                    <a:pt x="2505075" y="1143000"/>
                  </a:lnTo>
                  <a:lnTo>
                    <a:pt x="2524125" y="1120775"/>
                  </a:lnTo>
                  <a:lnTo>
                    <a:pt x="2520950" y="1066800"/>
                  </a:lnTo>
                  <a:lnTo>
                    <a:pt x="2489200" y="1022350"/>
                  </a:lnTo>
                  <a:lnTo>
                    <a:pt x="2473325" y="942975"/>
                  </a:lnTo>
                  <a:lnTo>
                    <a:pt x="2444750" y="866775"/>
                  </a:lnTo>
                  <a:lnTo>
                    <a:pt x="2400300" y="828675"/>
                  </a:lnTo>
                  <a:lnTo>
                    <a:pt x="2406650" y="768350"/>
                  </a:lnTo>
                  <a:lnTo>
                    <a:pt x="2387600" y="739775"/>
                  </a:lnTo>
                  <a:lnTo>
                    <a:pt x="2339975" y="755650"/>
                  </a:lnTo>
                  <a:lnTo>
                    <a:pt x="2295525" y="746125"/>
                  </a:lnTo>
                  <a:lnTo>
                    <a:pt x="2263775" y="774700"/>
                  </a:lnTo>
                  <a:lnTo>
                    <a:pt x="2235200" y="758825"/>
                  </a:lnTo>
                  <a:lnTo>
                    <a:pt x="2206625" y="758825"/>
                  </a:lnTo>
                  <a:lnTo>
                    <a:pt x="2159000" y="701675"/>
                  </a:lnTo>
                  <a:lnTo>
                    <a:pt x="2092325" y="669925"/>
                  </a:lnTo>
                  <a:lnTo>
                    <a:pt x="2073275" y="625475"/>
                  </a:lnTo>
                  <a:lnTo>
                    <a:pt x="2073275" y="558800"/>
                  </a:lnTo>
                  <a:lnTo>
                    <a:pt x="2063750" y="517525"/>
                  </a:lnTo>
                  <a:lnTo>
                    <a:pt x="2092325" y="498475"/>
                  </a:lnTo>
                  <a:lnTo>
                    <a:pt x="2085975" y="476250"/>
                  </a:lnTo>
                  <a:lnTo>
                    <a:pt x="2019300" y="476250"/>
                  </a:lnTo>
                  <a:lnTo>
                    <a:pt x="2012950" y="441325"/>
                  </a:lnTo>
                  <a:lnTo>
                    <a:pt x="1965325" y="425450"/>
                  </a:lnTo>
                  <a:lnTo>
                    <a:pt x="1914525" y="434975"/>
                  </a:lnTo>
                  <a:lnTo>
                    <a:pt x="1835150" y="428625"/>
                  </a:lnTo>
                  <a:lnTo>
                    <a:pt x="1806575" y="400050"/>
                  </a:lnTo>
                  <a:lnTo>
                    <a:pt x="1730375" y="409575"/>
                  </a:lnTo>
                  <a:lnTo>
                    <a:pt x="1692275" y="377825"/>
                  </a:lnTo>
                  <a:lnTo>
                    <a:pt x="1631950" y="371475"/>
                  </a:lnTo>
                  <a:lnTo>
                    <a:pt x="1555750" y="327025"/>
                  </a:lnTo>
                  <a:lnTo>
                    <a:pt x="1511300" y="336550"/>
                  </a:lnTo>
                  <a:lnTo>
                    <a:pt x="1466850" y="314325"/>
                  </a:lnTo>
                  <a:lnTo>
                    <a:pt x="1431925" y="279400"/>
                  </a:lnTo>
                  <a:lnTo>
                    <a:pt x="1400175" y="285750"/>
                  </a:lnTo>
                  <a:lnTo>
                    <a:pt x="1422400" y="336550"/>
                  </a:lnTo>
                  <a:lnTo>
                    <a:pt x="1400175" y="346075"/>
                  </a:lnTo>
                  <a:lnTo>
                    <a:pt x="1428750" y="409575"/>
                  </a:lnTo>
                  <a:lnTo>
                    <a:pt x="1374775" y="441325"/>
                  </a:lnTo>
                  <a:lnTo>
                    <a:pt x="1336675" y="406400"/>
                  </a:lnTo>
                  <a:lnTo>
                    <a:pt x="1298575" y="444500"/>
                  </a:lnTo>
                  <a:lnTo>
                    <a:pt x="1250950" y="463550"/>
                  </a:lnTo>
                  <a:lnTo>
                    <a:pt x="1247775" y="539750"/>
                  </a:lnTo>
                  <a:lnTo>
                    <a:pt x="1282700" y="584200"/>
                  </a:lnTo>
                  <a:lnTo>
                    <a:pt x="1222375" y="606425"/>
                  </a:lnTo>
                  <a:lnTo>
                    <a:pt x="1158875" y="571500"/>
                  </a:lnTo>
                  <a:lnTo>
                    <a:pt x="1101725" y="568325"/>
                  </a:lnTo>
                  <a:lnTo>
                    <a:pt x="1047750" y="542925"/>
                  </a:lnTo>
                  <a:lnTo>
                    <a:pt x="1012825" y="488950"/>
                  </a:lnTo>
                  <a:lnTo>
                    <a:pt x="1022350" y="460375"/>
                  </a:lnTo>
                  <a:lnTo>
                    <a:pt x="1003300" y="441325"/>
                  </a:lnTo>
                  <a:lnTo>
                    <a:pt x="981075" y="450850"/>
                  </a:lnTo>
                  <a:lnTo>
                    <a:pt x="952500" y="406400"/>
                  </a:lnTo>
                  <a:lnTo>
                    <a:pt x="917575" y="390525"/>
                  </a:lnTo>
                  <a:lnTo>
                    <a:pt x="825500" y="387350"/>
                  </a:lnTo>
                  <a:lnTo>
                    <a:pt x="828675" y="352425"/>
                  </a:lnTo>
                  <a:lnTo>
                    <a:pt x="793750" y="314325"/>
                  </a:lnTo>
                  <a:lnTo>
                    <a:pt x="777875" y="336550"/>
                  </a:lnTo>
                  <a:lnTo>
                    <a:pt x="749300" y="279400"/>
                  </a:lnTo>
                  <a:lnTo>
                    <a:pt x="771525" y="260350"/>
                  </a:lnTo>
                  <a:lnTo>
                    <a:pt x="774700" y="200025"/>
                  </a:lnTo>
                  <a:lnTo>
                    <a:pt x="739775" y="165100"/>
                  </a:lnTo>
                  <a:lnTo>
                    <a:pt x="720725" y="120650"/>
                  </a:lnTo>
                  <a:lnTo>
                    <a:pt x="685800" y="101600"/>
                  </a:lnTo>
                  <a:lnTo>
                    <a:pt x="676275" y="111125"/>
                  </a:lnTo>
                  <a:lnTo>
                    <a:pt x="647700" y="107950"/>
                  </a:lnTo>
                  <a:lnTo>
                    <a:pt x="650875" y="63500"/>
                  </a:lnTo>
                  <a:lnTo>
                    <a:pt x="631825" y="50800"/>
                  </a:lnTo>
                  <a:lnTo>
                    <a:pt x="476250" y="38100"/>
                  </a:lnTo>
                  <a:lnTo>
                    <a:pt x="460375" y="60325"/>
                  </a:lnTo>
                  <a:lnTo>
                    <a:pt x="431800" y="50800"/>
                  </a:lnTo>
                  <a:lnTo>
                    <a:pt x="415925" y="79375"/>
                  </a:lnTo>
                  <a:lnTo>
                    <a:pt x="377825" y="92075"/>
                  </a:lnTo>
                  <a:lnTo>
                    <a:pt x="342900" y="31750"/>
                  </a:lnTo>
                  <a:lnTo>
                    <a:pt x="311150" y="0"/>
                  </a:lnTo>
                  <a:lnTo>
                    <a:pt x="228600" y="31750"/>
                  </a:lnTo>
                  <a:lnTo>
                    <a:pt x="165100" y="88900"/>
                  </a:lnTo>
                  <a:lnTo>
                    <a:pt x="111125" y="79375"/>
                  </a:lnTo>
                  <a:lnTo>
                    <a:pt x="111125" y="142875"/>
                  </a:lnTo>
                  <a:lnTo>
                    <a:pt x="152400" y="215900"/>
                  </a:lnTo>
                  <a:lnTo>
                    <a:pt x="127000" y="247650"/>
                  </a:lnTo>
                  <a:lnTo>
                    <a:pt x="152400" y="276225"/>
                  </a:lnTo>
                  <a:lnTo>
                    <a:pt x="136525" y="307975"/>
                  </a:lnTo>
                  <a:lnTo>
                    <a:pt x="142875" y="336550"/>
                  </a:lnTo>
                  <a:lnTo>
                    <a:pt x="107950" y="387350"/>
                  </a:lnTo>
                  <a:lnTo>
                    <a:pt x="114300" y="441325"/>
                  </a:lnTo>
                  <a:close/>
                </a:path>
              </a:pathLst>
            </a:cu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accent6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33" name="Полилиния 32"/>
            <p:cNvSpPr/>
            <p:nvPr/>
          </p:nvSpPr>
          <p:spPr>
            <a:xfrm>
              <a:off x="124537" y="2922399"/>
              <a:ext cx="1082042" cy="1436941"/>
            </a:xfrm>
            <a:custGeom>
              <a:avLst/>
              <a:gdLst>
                <a:gd name="connsiteX0" fmla="*/ 933450 w 1009650"/>
                <a:gd name="connsiteY0" fmla="*/ 542925 h 1308100"/>
                <a:gd name="connsiteX1" fmla="*/ 942975 w 1009650"/>
                <a:gd name="connsiteY1" fmla="*/ 603250 h 1308100"/>
                <a:gd name="connsiteX2" fmla="*/ 965200 w 1009650"/>
                <a:gd name="connsiteY2" fmla="*/ 638175 h 1308100"/>
                <a:gd name="connsiteX3" fmla="*/ 933450 w 1009650"/>
                <a:gd name="connsiteY3" fmla="*/ 654050 h 1308100"/>
                <a:gd name="connsiteX4" fmla="*/ 936625 w 1009650"/>
                <a:gd name="connsiteY4" fmla="*/ 742950 h 1308100"/>
                <a:gd name="connsiteX5" fmla="*/ 977900 w 1009650"/>
                <a:gd name="connsiteY5" fmla="*/ 781050 h 1308100"/>
                <a:gd name="connsiteX6" fmla="*/ 946150 w 1009650"/>
                <a:gd name="connsiteY6" fmla="*/ 866775 h 1308100"/>
                <a:gd name="connsiteX7" fmla="*/ 974725 w 1009650"/>
                <a:gd name="connsiteY7" fmla="*/ 892175 h 1308100"/>
                <a:gd name="connsiteX8" fmla="*/ 984250 w 1009650"/>
                <a:gd name="connsiteY8" fmla="*/ 927100 h 1308100"/>
                <a:gd name="connsiteX9" fmla="*/ 1009650 w 1009650"/>
                <a:gd name="connsiteY9" fmla="*/ 965200 h 1308100"/>
                <a:gd name="connsiteX10" fmla="*/ 996950 w 1009650"/>
                <a:gd name="connsiteY10" fmla="*/ 993775 h 1308100"/>
                <a:gd name="connsiteX11" fmla="*/ 1000125 w 1009650"/>
                <a:gd name="connsiteY11" fmla="*/ 1019175 h 1308100"/>
                <a:gd name="connsiteX12" fmla="*/ 939800 w 1009650"/>
                <a:gd name="connsiteY12" fmla="*/ 1041400 h 1308100"/>
                <a:gd name="connsiteX13" fmla="*/ 876300 w 1009650"/>
                <a:gd name="connsiteY13" fmla="*/ 1098550 h 1308100"/>
                <a:gd name="connsiteX14" fmla="*/ 831850 w 1009650"/>
                <a:gd name="connsiteY14" fmla="*/ 1076325 h 1308100"/>
                <a:gd name="connsiteX15" fmla="*/ 809625 w 1009650"/>
                <a:gd name="connsiteY15" fmla="*/ 1095375 h 1308100"/>
                <a:gd name="connsiteX16" fmla="*/ 755650 w 1009650"/>
                <a:gd name="connsiteY16" fmla="*/ 1069975 h 1308100"/>
                <a:gd name="connsiteX17" fmla="*/ 711200 w 1009650"/>
                <a:gd name="connsiteY17" fmla="*/ 1092200 h 1308100"/>
                <a:gd name="connsiteX18" fmla="*/ 701675 w 1009650"/>
                <a:gd name="connsiteY18" fmla="*/ 1108075 h 1308100"/>
                <a:gd name="connsiteX19" fmla="*/ 593725 w 1009650"/>
                <a:gd name="connsiteY19" fmla="*/ 1098550 h 1308100"/>
                <a:gd name="connsiteX20" fmla="*/ 577850 w 1009650"/>
                <a:gd name="connsiteY20" fmla="*/ 1133475 h 1308100"/>
                <a:gd name="connsiteX21" fmla="*/ 508000 w 1009650"/>
                <a:gd name="connsiteY21" fmla="*/ 1130300 h 1308100"/>
                <a:gd name="connsiteX22" fmla="*/ 444500 w 1009650"/>
                <a:gd name="connsiteY22" fmla="*/ 1120775 h 1308100"/>
                <a:gd name="connsiteX23" fmla="*/ 390525 w 1009650"/>
                <a:gd name="connsiteY23" fmla="*/ 1098550 h 1308100"/>
                <a:gd name="connsiteX24" fmla="*/ 358775 w 1009650"/>
                <a:gd name="connsiteY24" fmla="*/ 1060450 h 1308100"/>
                <a:gd name="connsiteX25" fmla="*/ 339725 w 1009650"/>
                <a:gd name="connsiteY25" fmla="*/ 1063625 h 1308100"/>
                <a:gd name="connsiteX26" fmla="*/ 349250 w 1009650"/>
                <a:gd name="connsiteY26" fmla="*/ 1101725 h 1308100"/>
                <a:gd name="connsiteX27" fmla="*/ 339725 w 1009650"/>
                <a:gd name="connsiteY27" fmla="*/ 1152525 h 1308100"/>
                <a:gd name="connsiteX28" fmla="*/ 336550 w 1009650"/>
                <a:gd name="connsiteY28" fmla="*/ 1209675 h 1308100"/>
                <a:gd name="connsiteX29" fmla="*/ 352425 w 1009650"/>
                <a:gd name="connsiteY29" fmla="*/ 1238250 h 1308100"/>
                <a:gd name="connsiteX30" fmla="*/ 393700 w 1009650"/>
                <a:gd name="connsiteY30" fmla="*/ 1263650 h 1308100"/>
                <a:gd name="connsiteX31" fmla="*/ 387350 w 1009650"/>
                <a:gd name="connsiteY31" fmla="*/ 1292225 h 1308100"/>
                <a:gd name="connsiteX32" fmla="*/ 361950 w 1009650"/>
                <a:gd name="connsiteY32" fmla="*/ 1308100 h 1308100"/>
                <a:gd name="connsiteX33" fmla="*/ 333375 w 1009650"/>
                <a:gd name="connsiteY33" fmla="*/ 1285875 h 1308100"/>
                <a:gd name="connsiteX34" fmla="*/ 311150 w 1009650"/>
                <a:gd name="connsiteY34" fmla="*/ 1257300 h 1308100"/>
                <a:gd name="connsiteX35" fmla="*/ 282575 w 1009650"/>
                <a:gd name="connsiteY35" fmla="*/ 1257300 h 1308100"/>
                <a:gd name="connsiteX36" fmla="*/ 257175 w 1009650"/>
                <a:gd name="connsiteY36" fmla="*/ 1257300 h 1308100"/>
                <a:gd name="connsiteX37" fmla="*/ 250825 w 1009650"/>
                <a:gd name="connsiteY37" fmla="*/ 1241425 h 1308100"/>
                <a:gd name="connsiteX38" fmla="*/ 250825 w 1009650"/>
                <a:gd name="connsiteY38" fmla="*/ 1216025 h 1308100"/>
                <a:gd name="connsiteX39" fmla="*/ 231775 w 1009650"/>
                <a:gd name="connsiteY39" fmla="*/ 1216025 h 1308100"/>
                <a:gd name="connsiteX40" fmla="*/ 184150 w 1009650"/>
                <a:gd name="connsiteY40" fmla="*/ 1206500 h 1308100"/>
                <a:gd name="connsiteX41" fmla="*/ 161925 w 1009650"/>
                <a:gd name="connsiteY41" fmla="*/ 1216025 h 1308100"/>
                <a:gd name="connsiteX42" fmla="*/ 146050 w 1009650"/>
                <a:gd name="connsiteY42" fmla="*/ 1209675 h 1308100"/>
                <a:gd name="connsiteX43" fmla="*/ 139700 w 1009650"/>
                <a:gd name="connsiteY43" fmla="*/ 1174750 h 1308100"/>
                <a:gd name="connsiteX44" fmla="*/ 149225 w 1009650"/>
                <a:gd name="connsiteY44" fmla="*/ 1149350 h 1308100"/>
                <a:gd name="connsiteX45" fmla="*/ 180975 w 1009650"/>
                <a:gd name="connsiteY45" fmla="*/ 1143000 h 1308100"/>
                <a:gd name="connsiteX46" fmla="*/ 209550 w 1009650"/>
                <a:gd name="connsiteY46" fmla="*/ 1133475 h 1308100"/>
                <a:gd name="connsiteX47" fmla="*/ 212725 w 1009650"/>
                <a:gd name="connsiteY47" fmla="*/ 1101725 h 1308100"/>
                <a:gd name="connsiteX48" fmla="*/ 209550 w 1009650"/>
                <a:gd name="connsiteY48" fmla="*/ 1063625 h 1308100"/>
                <a:gd name="connsiteX49" fmla="*/ 200025 w 1009650"/>
                <a:gd name="connsiteY49" fmla="*/ 1031875 h 1308100"/>
                <a:gd name="connsiteX50" fmla="*/ 200025 w 1009650"/>
                <a:gd name="connsiteY50" fmla="*/ 1016000 h 1308100"/>
                <a:gd name="connsiteX51" fmla="*/ 219075 w 1009650"/>
                <a:gd name="connsiteY51" fmla="*/ 1009650 h 1308100"/>
                <a:gd name="connsiteX52" fmla="*/ 247650 w 1009650"/>
                <a:gd name="connsiteY52" fmla="*/ 1022350 h 1308100"/>
                <a:gd name="connsiteX53" fmla="*/ 269875 w 1009650"/>
                <a:gd name="connsiteY53" fmla="*/ 1022350 h 1308100"/>
                <a:gd name="connsiteX54" fmla="*/ 292100 w 1009650"/>
                <a:gd name="connsiteY54" fmla="*/ 1050925 h 1308100"/>
                <a:gd name="connsiteX55" fmla="*/ 317500 w 1009650"/>
                <a:gd name="connsiteY55" fmla="*/ 1047750 h 1308100"/>
                <a:gd name="connsiteX56" fmla="*/ 317500 w 1009650"/>
                <a:gd name="connsiteY56" fmla="*/ 1028700 h 1308100"/>
                <a:gd name="connsiteX57" fmla="*/ 298450 w 1009650"/>
                <a:gd name="connsiteY57" fmla="*/ 1003300 h 1308100"/>
                <a:gd name="connsiteX58" fmla="*/ 269875 w 1009650"/>
                <a:gd name="connsiteY58" fmla="*/ 977900 h 1308100"/>
                <a:gd name="connsiteX59" fmla="*/ 250825 w 1009650"/>
                <a:gd name="connsiteY59" fmla="*/ 927100 h 1308100"/>
                <a:gd name="connsiteX60" fmla="*/ 254000 w 1009650"/>
                <a:gd name="connsiteY60" fmla="*/ 901700 h 1308100"/>
                <a:gd name="connsiteX61" fmla="*/ 282575 w 1009650"/>
                <a:gd name="connsiteY61" fmla="*/ 892175 h 1308100"/>
                <a:gd name="connsiteX62" fmla="*/ 282575 w 1009650"/>
                <a:gd name="connsiteY62" fmla="*/ 863600 h 1308100"/>
                <a:gd name="connsiteX63" fmla="*/ 260350 w 1009650"/>
                <a:gd name="connsiteY63" fmla="*/ 835025 h 1308100"/>
                <a:gd name="connsiteX64" fmla="*/ 200025 w 1009650"/>
                <a:gd name="connsiteY64" fmla="*/ 806450 h 1308100"/>
                <a:gd name="connsiteX65" fmla="*/ 139700 w 1009650"/>
                <a:gd name="connsiteY65" fmla="*/ 812800 h 1308100"/>
                <a:gd name="connsiteX66" fmla="*/ 73025 w 1009650"/>
                <a:gd name="connsiteY66" fmla="*/ 806450 h 1308100"/>
                <a:gd name="connsiteX67" fmla="*/ 47625 w 1009650"/>
                <a:gd name="connsiteY67" fmla="*/ 825500 h 1308100"/>
                <a:gd name="connsiteX68" fmla="*/ 25400 w 1009650"/>
                <a:gd name="connsiteY68" fmla="*/ 812800 h 1308100"/>
                <a:gd name="connsiteX69" fmla="*/ 0 w 1009650"/>
                <a:gd name="connsiteY69" fmla="*/ 771525 h 1308100"/>
                <a:gd name="connsiteX70" fmla="*/ 0 w 1009650"/>
                <a:gd name="connsiteY70" fmla="*/ 708025 h 1308100"/>
                <a:gd name="connsiteX71" fmla="*/ 28575 w 1009650"/>
                <a:gd name="connsiteY71" fmla="*/ 676275 h 1308100"/>
                <a:gd name="connsiteX72" fmla="*/ 34925 w 1009650"/>
                <a:gd name="connsiteY72" fmla="*/ 654050 h 1308100"/>
                <a:gd name="connsiteX73" fmla="*/ 63500 w 1009650"/>
                <a:gd name="connsiteY73" fmla="*/ 638175 h 1308100"/>
                <a:gd name="connsiteX74" fmla="*/ 98425 w 1009650"/>
                <a:gd name="connsiteY74" fmla="*/ 638175 h 1308100"/>
                <a:gd name="connsiteX75" fmla="*/ 130175 w 1009650"/>
                <a:gd name="connsiteY75" fmla="*/ 596900 h 1308100"/>
                <a:gd name="connsiteX76" fmla="*/ 152400 w 1009650"/>
                <a:gd name="connsiteY76" fmla="*/ 552450 h 1308100"/>
                <a:gd name="connsiteX77" fmla="*/ 168275 w 1009650"/>
                <a:gd name="connsiteY77" fmla="*/ 495300 h 1308100"/>
                <a:gd name="connsiteX78" fmla="*/ 187325 w 1009650"/>
                <a:gd name="connsiteY78" fmla="*/ 469900 h 1308100"/>
                <a:gd name="connsiteX79" fmla="*/ 187325 w 1009650"/>
                <a:gd name="connsiteY79" fmla="*/ 441325 h 1308100"/>
                <a:gd name="connsiteX80" fmla="*/ 190500 w 1009650"/>
                <a:gd name="connsiteY80" fmla="*/ 400050 h 1308100"/>
                <a:gd name="connsiteX81" fmla="*/ 158750 w 1009650"/>
                <a:gd name="connsiteY81" fmla="*/ 371475 h 1308100"/>
                <a:gd name="connsiteX82" fmla="*/ 114300 w 1009650"/>
                <a:gd name="connsiteY82" fmla="*/ 358775 h 1308100"/>
                <a:gd name="connsiteX83" fmla="*/ 88900 w 1009650"/>
                <a:gd name="connsiteY83" fmla="*/ 336550 h 1308100"/>
                <a:gd name="connsiteX84" fmla="*/ 82550 w 1009650"/>
                <a:gd name="connsiteY84" fmla="*/ 311150 h 1308100"/>
                <a:gd name="connsiteX85" fmla="*/ 95250 w 1009650"/>
                <a:gd name="connsiteY85" fmla="*/ 276225 h 1308100"/>
                <a:gd name="connsiteX86" fmla="*/ 76200 w 1009650"/>
                <a:gd name="connsiteY86" fmla="*/ 244475 h 1308100"/>
                <a:gd name="connsiteX87" fmla="*/ 41275 w 1009650"/>
                <a:gd name="connsiteY87" fmla="*/ 222250 h 1308100"/>
                <a:gd name="connsiteX88" fmla="*/ 28575 w 1009650"/>
                <a:gd name="connsiteY88" fmla="*/ 171450 h 1308100"/>
                <a:gd name="connsiteX89" fmla="*/ 25400 w 1009650"/>
                <a:gd name="connsiteY89" fmla="*/ 107950 h 1308100"/>
                <a:gd name="connsiteX90" fmla="*/ 57150 w 1009650"/>
                <a:gd name="connsiteY90" fmla="*/ 53975 h 1308100"/>
                <a:gd name="connsiteX91" fmla="*/ 107950 w 1009650"/>
                <a:gd name="connsiteY91" fmla="*/ 44450 h 1308100"/>
                <a:gd name="connsiteX92" fmla="*/ 155575 w 1009650"/>
                <a:gd name="connsiteY92" fmla="*/ 60325 h 1308100"/>
                <a:gd name="connsiteX93" fmla="*/ 184150 w 1009650"/>
                <a:gd name="connsiteY93" fmla="*/ 44450 h 1308100"/>
                <a:gd name="connsiteX94" fmla="*/ 225425 w 1009650"/>
                <a:gd name="connsiteY94" fmla="*/ 57150 h 1308100"/>
                <a:gd name="connsiteX95" fmla="*/ 263525 w 1009650"/>
                <a:gd name="connsiteY95" fmla="*/ 50800 h 1308100"/>
                <a:gd name="connsiteX96" fmla="*/ 307975 w 1009650"/>
                <a:gd name="connsiteY96" fmla="*/ 76200 h 1308100"/>
                <a:gd name="connsiteX97" fmla="*/ 339725 w 1009650"/>
                <a:gd name="connsiteY97" fmla="*/ 88900 h 1308100"/>
                <a:gd name="connsiteX98" fmla="*/ 377825 w 1009650"/>
                <a:gd name="connsiteY98" fmla="*/ 69850 h 1308100"/>
                <a:gd name="connsiteX99" fmla="*/ 381000 w 1009650"/>
                <a:gd name="connsiteY99" fmla="*/ 25400 h 1308100"/>
                <a:gd name="connsiteX100" fmla="*/ 406400 w 1009650"/>
                <a:gd name="connsiteY100" fmla="*/ 0 h 1308100"/>
                <a:gd name="connsiteX101" fmla="*/ 438150 w 1009650"/>
                <a:gd name="connsiteY101" fmla="*/ 0 h 1308100"/>
                <a:gd name="connsiteX102" fmla="*/ 485775 w 1009650"/>
                <a:gd name="connsiteY102" fmla="*/ 12700 h 1308100"/>
                <a:gd name="connsiteX103" fmla="*/ 523875 w 1009650"/>
                <a:gd name="connsiteY103" fmla="*/ 38100 h 1308100"/>
                <a:gd name="connsiteX104" fmla="*/ 542925 w 1009650"/>
                <a:gd name="connsiteY104" fmla="*/ 82550 h 1308100"/>
                <a:gd name="connsiteX105" fmla="*/ 571500 w 1009650"/>
                <a:gd name="connsiteY105" fmla="*/ 139700 h 1308100"/>
                <a:gd name="connsiteX106" fmla="*/ 596900 w 1009650"/>
                <a:gd name="connsiteY106" fmla="*/ 209550 h 1308100"/>
                <a:gd name="connsiteX107" fmla="*/ 625475 w 1009650"/>
                <a:gd name="connsiteY107" fmla="*/ 244475 h 1308100"/>
                <a:gd name="connsiteX108" fmla="*/ 631825 w 1009650"/>
                <a:gd name="connsiteY108" fmla="*/ 298450 h 1308100"/>
                <a:gd name="connsiteX109" fmla="*/ 669925 w 1009650"/>
                <a:gd name="connsiteY109" fmla="*/ 339725 h 1308100"/>
                <a:gd name="connsiteX110" fmla="*/ 682625 w 1009650"/>
                <a:gd name="connsiteY110" fmla="*/ 390525 h 1308100"/>
                <a:gd name="connsiteX111" fmla="*/ 695325 w 1009650"/>
                <a:gd name="connsiteY111" fmla="*/ 454025 h 1308100"/>
                <a:gd name="connsiteX112" fmla="*/ 720725 w 1009650"/>
                <a:gd name="connsiteY112" fmla="*/ 454025 h 1308100"/>
                <a:gd name="connsiteX113" fmla="*/ 749300 w 1009650"/>
                <a:gd name="connsiteY113" fmla="*/ 428625 h 1308100"/>
                <a:gd name="connsiteX114" fmla="*/ 800100 w 1009650"/>
                <a:gd name="connsiteY114" fmla="*/ 438150 h 1308100"/>
                <a:gd name="connsiteX115" fmla="*/ 809625 w 1009650"/>
                <a:gd name="connsiteY115" fmla="*/ 473075 h 1308100"/>
                <a:gd name="connsiteX116" fmla="*/ 854075 w 1009650"/>
                <a:gd name="connsiteY116" fmla="*/ 479425 h 1308100"/>
                <a:gd name="connsiteX117" fmla="*/ 895350 w 1009650"/>
                <a:gd name="connsiteY117" fmla="*/ 508000 h 1308100"/>
                <a:gd name="connsiteX118" fmla="*/ 933450 w 1009650"/>
                <a:gd name="connsiteY118" fmla="*/ 542925 h 130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</a:cxnLst>
              <a:rect l="l" t="t" r="r" b="b"/>
              <a:pathLst>
                <a:path w="1009650" h="1308100">
                  <a:moveTo>
                    <a:pt x="933450" y="542925"/>
                  </a:moveTo>
                  <a:lnTo>
                    <a:pt x="942975" y="603250"/>
                  </a:lnTo>
                  <a:lnTo>
                    <a:pt x="965200" y="638175"/>
                  </a:lnTo>
                  <a:lnTo>
                    <a:pt x="933450" y="654050"/>
                  </a:lnTo>
                  <a:lnTo>
                    <a:pt x="936625" y="742950"/>
                  </a:lnTo>
                  <a:lnTo>
                    <a:pt x="977900" y="781050"/>
                  </a:lnTo>
                  <a:lnTo>
                    <a:pt x="946150" y="866775"/>
                  </a:lnTo>
                  <a:lnTo>
                    <a:pt x="974725" y="892175"/>
                  </a:lnTo>
                  <a:lnTo>
                    <a:pt x="984250" y="927100"/>
                  </a:lnTo>
                  <a:lnTo>
                    <a:pt x="1009650" y="965200"/>
                  </a:lnTo>
                  <a:lnTo>
                    <a:pt x="996950" y="993775"/>
                  </a:lnTo>
                  <a:lnTo>
                    <a:pt x="1000125" y="1019175"/>
                  </a:lnTo>
                  <a:lnTo>
                    <a:pt x="939800" y="1041400"/>
                  </a:lnTo>
                  <a:lnTo>
                    <a:pt x="876300" y="1098550"/>
                  </a:lnTo>
                  <a:lnTo>
                    <a:pt x="831850" y="1076325"/>
                  </a:lnTo>
                  <a:lnTo>
                    <a:pt x="809625" y="1095375"/>
                  </a:lnTo>
                  <a:lnTo>
                    <a:pt x="755650" y="1069975"/>
                  </a:lnTo>
                  <a:lnTo>
                    <a:pt x="711200" y="1092200"/>
                  </a:lnTo>
                  <a:lnTo>
                    <a:pt x="701675" y="1108075"/>
                  </a:lnTo>
                  <a:lnTo>
                    <a:pt x="593725" y="1098550"/>
                  </a:lnTo>
                  <a:lnTo>
                    <a:pt x="577850" y="1133475"/>
                  </a:lnTo>
                  <a:lnTo>
                    <a:pt x="508000" y="1130300"/>
                  </a:lnTo>
                  <a:lnTo>
                    <a:pt x="444500" y="1120775"/>
                  </a:lnTo>
                  <a:lnTo>
                    <a:pt x="390525" y="1098550"/>
                  </a:lnTo>
                  <a:lnTo>
                    <a:pt x="358775" y="1060450"/>
                  </a:lnTo>
                  <a:lnTo>
                    <a:pt x="339725" y="1063625"/>
                  </a:lnTo>
                  <a:lnTo>
                    <a:pt x="349250" y="1101725"/>
                  </a:lnTo>
                  <a:lnTo>
                    <a:pt x="339725" y="1152525"/>
                  </a:lnTo>
                  <a:lnTo>
                    <a:pt x="336550" y="1209675"/>
                  </a:lnTo>
                  <a:lnTo>
                    <a:pt x="352425" y="1238250"/>
                  </a:lnTo>
                  <a:lnTo>
                    <a:pt x="393700" y="1263650"/>
                  </a:lnTo>
                  <a:lnTo>
                    <a:pt x="387350" y="1292225"/>
                  </a:lnTo>
                  <a:lnTo>
                    <a:pt x="361950" y="1308100"/>
                  </a:lnTo>
                  <a:lnTo>
                    <a:pt x="333375" y="1285875"/>
                  </a:lnTo>
                  <a:lnTo>
                    <a:pt x="311150" y="1257300"/>
                  </a:lnTo>
                  <a:lnTo>
                    <a:pt x="282575" y="1257300"/>
                  </a:lnTo>
                  <a:lnTo>
                    <a:pt x="257175" y="1257300"/>
                  </a:lnTo>
                  <a:lnTo>
                    <a:pt x="250825" y="1241425"/>
                  </a:lnTo>
                  <a:lnTo>
                    <a:pt x="250825" y="1216025"/>
                  </a:lnTo>
                  <a:lnTo>
                    <a:pt x="231775" y="1216025"/>
                  </a:lnTo>
                  <a:lnTo>
                    <a:pt x="184150" y="1206500"/>
                  </a:lnTo>
                  <a:lnTo>
                    <a:pt x="161925" y="1216025"/>
                  </a:lnTo>
                  <a:lnTo>
                    <a:pt x="146050" y="1209675"/>
                  </a:lnTo>
                  <a:lnTo>
                    <a:pt x="139700" y="1174750"/>
                  </a:lnTo>
                  <a:lnTo>
                    <a:pt x="149225" y="1149350"/>
                  </a:lnTo>
                  <a:lnTo>
                    <a:pt x="180975" y="1143000"/>
                  </a:lnTo>
                  <a:lnTo>
                    <a:pt x="209550" y="1133475"/>
                  </a:lnTo>
                  <a:lnTo>
                    <a:pt x="212725" y="1101725"/>
                  </a:lnTo>
                  <a:lnTo>
                    <a:pt x="209550" y="1063625"/>
                  </a:lnTo>
                  <a:lnTo>
                    <a:pt x="200025" y="1031875"/>
                  </a:lnTo>
                  <a:lnTo>
                    <a:pt x="200025" y="1016000"/>
                  </a:lnTo>
                  <a:lnTo>
                    <a:pt x="219075" y="1009650"/>
                  </a:lnTo>
                  <a:lnTo>
                    <a:pt x="247650" y="1022350"/>
                  </a:lnTo>
                  <a:lnTo>
                    <a:pt x="269875" y="1022350"/>
                  </a:lnTo>
                  <a:lnTo>
                    <a:pt x="292100" y="1050925"/>
                  </a:lnTo>
                  <a:lnTo>
                    <a:pt x="317500" y="1047750"/>
                  </a:lnTo>
                  <a:lnTo>
                    <a:pt x="317500" y="1028700"/>
                  </a:lnTo>
                  <a:lnTo>
                    <a:pt x="298450" y="1003300"/>
                  </a:lnTo>
                  <a:lnTo>
                    <a:pt x="269875" y="977900"/>
                  </a:lnTo>
                  <a:lnTo>
                    <a:pt x="250825" y="927100"/>
                  </a:lnTo>
                  <a:lnTo>
                    <a:pt x="254000" y="901700"/>
                  </a:lnTo>
                  <a:lnTo>
                    <a:pt x="282575" y="892175"/>
                  </a:lnTo>
                  <a:lnTo>
                    <a:pt x="282575" y="863600"/>
                  </a:lnTo>
                  <a:lnTo>
                    <a:pt x="260350" y="835025"/>
                  </a:lnTo>
                  <a:lnTo>
                    <a:pt x="200025" y="806450"/>
                  </a:lnTo>
                  <a:lnTo>
                    <a:pt x="139700" y="812800"/>
                  </a:lnTo>
                  <a:lnTo>
                    <a:pt x="73025" y="806450"/>
                  </a:lnTo>
                  <a:lnTo>
                    <a:pt x="47625" y="825500"/>
                  </a:lnTo>
                  <a:lnTo>
                    <a:pt x="25400" y="812800"/>
                  </a:lnTo>
                  <a:lnTo>
                    <a:pt x="0" y="771525"/>
                  </a:lnTo>
                  <a:lnTo>
                    <a:pt x="0" y="708025"/>
                  </a:lnTo>
                  <a:lnTo>
                    <a:pt x="28575" y="676275"/>
                  </a:lnTo>
                  <a:lnTo>
                    <a:pt x="34925" y="654050"/>
                  </a:lnTo>
                  <a:lnTo>
                    <a:pt x="63500" y="638175"/>
                  </a:lnTo>
                  <a:lnTo>
                    <a:pt x="98425" y="638175"/>
                  </a:lnTo>
                  <a:lnTo>
                    <a:pt x="130175" y="596900"/>
                  </a:lnTo>
                  <a:lnTo>
                    <a:pt x="152400" y="552450"/>
                  </a:lnTo>
                  <a:lnTo>
                    <a:pt x="168275" y="495300"/>
                  </a:lnTo>
                  <a:lnTo>
                    <a:pt x="187325" y="469900"/>
                  </a:lnTo>
                  <a:lnTo>
                    <a:pt x="187325" y="441325"/>
                  </a:lnTo>
                  <a:lnTo>
                    <a:pt x="190500" y="400050"/>
                  </a:lnTo>
                  <a:lnTo>
                    <a:pt x="158750" y="371475"/>
                  </a:lnTo>
                  <a:lnTo>
                    <a:pt x="114300" y="358775"/>
                  </a:lnTo>
                  <a:lnTo>
                    <a:pt x="88900" y="336550"/>
                  </a:lnTo>
                  <a:lnTo>
                    <a:pt x="82550" y="311150"/>
                  </a:lnTo>
                  <a:lnTo>
                    <a:pt x="95250" y="276225"/>
                  </a:lnTo>
                  <a:lnTo>
                    <a:pt x="76200" y="244475"/>
                  </a:lnTo>
                  <a:lnTo>
                    <a:pt x="41275" y="222250"/>
                  </a:lnTo>
                  <a:lnTo>
                    <a:pt x="28575" y="171450"/>
                  </a:lnTo>
                  <a:lnTo>
                    <a:pt x="25400" y="107950"/>
                  </a:lnTo>
                  <a:lnTo>
                    <a:pt x="57150" y="53975"/>
                  </a:lnTo>
                  <a:lnTo>
                    <a:pt x="107950" y="44450"/>
                  </a:lnTo>
                  <a:lnTo>
                    <a:pt x="155575" y="60325"/>
                  </a:lnTo>
                  <a:lnTo>
                    <a:pt x="184150" y="44450"/>
                  </a:lnTo>
                  <a:lnTo>
                    <a:pt x="225425" y="57150"/>
                  </a:lnTo>
                  <a:lnTo>
                    <a:pt x="263525" y="50800"/>
                  </a:lnTo>
                  <a:lnTo>
                    <a:pt x="307975" y="76200"/>
                  </a:lnTo>
                  <a:lnTo>
                    <a:pt x="339725" y="88900"/>
                  </a:lnTo>
                  <a:lnTo>
                    <a:pt x="377825" y="69850"/>
                  </a:lnTo>
                  <a:lnTo>
                    <a:pt x="381000" y="25400"/>
                  </a:lnTo>
                  <a:lnTo>
                    <a:pt x="406400" y="0"/>
                  </a:lnTo>
                  <a:lnTo>
                    <a:pt x="438150" y="0"/>
                  </a:lnTo>
                  <a:lnTo>
                    <a:pt x="485775" y="12700"/>
                  </a:lnTo>
                  <a:lnTo>
                    <a:pt x="523875" y="38100"/>
                  </a:lnTo>
                  <a:lnTo>
                    <a:pt x="542925" y="82550"/>
                  </a:lnTo>
                  <a:lnTo>
                    <a:pt x="571500" y="139700"/>
                  </a:lnTo>
                  <a:lnTo>
                    <a:pt x="596900" y="209550"/>
                  </a:lnTo>
                  <a:lnTo>
                    <a:pt x="625475" y="244475"/>
                  </a:lnTo>
                  <a:lnTo>
                    <a:pt x="631825" y="298450"/>
                  </a:lnTo>
                  <a:lnTo>
                    <a:pt x="669925" y="339725"/>
                  </a:lnTo>
                  <a:lnTo>
                    <a:pt x="682625" y="390525"/>
                  </a:lnTo>
                  <a:lnTo>
                    <a:pt x="695325" y="454025"/>
                  </a:lnTo>
                  <a:lnTo>
                    <a:pt x="720725" y="454025"/>
                  </a:lnTo>
                  <a:lnTo>
                    <a:pt x="749300" y="428625"/>
                  </a:lnTo>
                  <a:lnTo>
                    <a:pt x="800100" y="438150"/>
                  </a:lnTo>
                  <a:lnTo>
                    <a:pt x="809625" y="473075"/>
                  </a:lnTo>
                  <a:lnTo>
                    <a:pt x="854075" y="479425"/>
                  </a:lnTo>
                  <a:lnTo>
                    <a:pt x="895350" y="508000"/>
                  </a:lnTo>
                  <a:lnTo>
                    <a:pt x="933450" y="542925"/>
                  </a:lnTo>
                  <a:close/>
                </a:path>
              </a:pathLst>
            </a:cu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8192" name="Овал 8191"/>
          <p:cNvSpPr/>
          <p:nvPr/>
        </p:nvSpPr>
        <p:spPr>
          <a:xfrm>
            <a:off x="9033315" y="3989007"/>
            <a:ext cx="180000" cy="180000"/>
          </a:xfrm>
          <a:prstGeom prst="ellipse">
            <a:avLst/>
          </a:prstGeom>
          <a:solidFill>
            <a:srgbClr val="C00000"/>
          </a:solidFill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/>
          </a:p>
        </p:txBody>
      </p:sp>
      <p:sp>
        <p:nvSpPr>
          <p:cNvPr id="67" name="TextBox 66"/>
          <p:cNvSpPr txBox="1"/>
          <p:nvPr/>
        </p:nvSpPr>
        <p:spPr>
          <a:xfrm>
            <a:off x="8057295" y="3923069"/>
            <a:ext cx="112562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b="1" dirty="0" smtClean="0"/>
              <a:t>Хабаровск</a:t>
            </a:r>
            <a:endParaRPr lang="ru-RU" sz="1200" b="1" dirty="0"/>
          </a:p>
        </p:txBody>
      </p:sp>
      <p:sp>
        <p:nvSpPr>
          <p:cNvPr id="68" name="Овал 67"/>
          <p:cNvSpPr/>
          <p:nvPr/>
        </p:nvSpPr>
        <p:spPr>
          <a:xfrm>
            <a:off x="6152995" y="4370361"/>
            <a:ext cx="180000" cy="180000"/>
          </a:xfrm>
          <a:prstGeom prst="ellipse">
            <a:avLst/>
          </a:prstGeom>
          <a:solidFill>
            <a:srgbClr val="C00000"/>
          </a:solidFill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/>
          </a:p>
        </p:txBody>
      </p:sp>
      <p:sp>
        <p:nvSpPr>
          <p:cNvPr id="69" name="TextBox 68"/>
          <p:cNvSpPr txBox="1"/>
          <p:nvPr/>
        </p:nvSpPr>
        <p:spPr>
          <a:xfrm>
            <a:off x="6260987" y="4313539"/>
            <a:ext cx="8996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/>
              <a:t>Иркутск</a:t>
            </a:r>
            <a:endParaRPr lang="ru-RU" sz="1200" b="1" dirty="0"/>
          </a:p>
        </p:txBody>
      </p:sp>
      <p:sp>
        <p:nvSpPr>
          <p:cNvPr id="70" name="TextBox 69"/>
          <p:cNvSpPr txBox="1"/>
          <p:nvPr/>
        </p:nvSpPr>
        <p:spPr>
          <a:xfrm>
            <a:off x="5216379" y="3806750"/>
            <a:ext cx="12266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/>
              <a:t>Красноярск</a:t>
            </a:r>
            <a:endParaRPr lang="ru-RU" sz="1200" b="1" dirty="0"/>
          </a:p>
        </p:txBody>
      </p:sp>
      <p:sp>
        <p:nvSpPr>
          <p:cNvPr id="71" name="Овал 70"/>
          <p:cNvSpPr/>
          <p:nvPr/>
        </p:nvSpPr>
        <p:spPr>
          <a:xfrm>
            <a:off x="5105826" y="3855250"/>
            <a:ext cx="180000" cy="180000"/>
          </a:xfrm>
          <a:prstGeom prst="ellipse">
            <a:avLst/>
          </a:prstGeom>
          <a:solidFill>
            <a:srgbClr val="C00000"/>
          </a:solidFill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/>
          </a:p>
        </p:txBody>
      </p:sp>
      <p:sp>
        <p:nvSpPr>
          <p:cNvPr id="72" name="TextBox 71"/>
          <p:cNvSpPr txBox="1"/>
          <p:nvPr/>
        </p:nvSpPr>
        <p:spPr>
          <a:xfrm>
            <a:off x="3863622" y="3519630"/>
            <a:ext cx="135005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/>
              <a:t>Новосибирск</a:t>
            </a:r>
            <a:endParaRPr lang="ru-RU" sz="1200" b="1" dirty="0"/>
          </a:p>
        </p:txBody>
      </p:sp>
      <p:sp>
        <p:nvSpPr>
          <p:cNvPr id="8193" name="Прямоугольник 8192"/>
          <p:cNvSpPr/>
          <p:nvPr/>
        </p:nvSpPr>
        <p:spPr>
          <a:xfrm>
            <a:off x="3029505" y="3019137"/>
            <a:ext cx="14045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/>
              <a:t>Екатеринбург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2944440" y="3239619"/>
            <a:ext cx="114486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b="1" dirty="0" smtClean="0"/>
              <a:t>Челябинск</a:t>
            </a:r>
            <a:endParaRPr lang="ru-RU" sz="1200" b="1" dirty="0"/>
          </a:p>
        </p:txBody>
      </p:sp>
      <p:sp>
        <p:nvSpPr>
          <p:cNvPr id="75" name="Овал 74"/>
          <p:cNvSpPr/>
          <p:nvPr/>
        </p:nvSpPr>
        <p:spPr>
          <a:xfrm>
            <a:off x="2931606" y="3066309"/>
            <a:ext cx="180000" cy="180000"/>
          </a:xfrm>
          <a:prstGeom prst="ellipse">
            <a:avLst/>
          </a:prstGeom>
          <a:solidFill>
            <a:srgbClr val="C00000"/>
          </a:solidFill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/>
          </a:p>
        </p:txBody>
      </p:sp>
      <p:sp>
        <p:nvSpPr>
          <p:cNvPr id="76" name="Овал 75"/>
          <p:cNvSpPr/>
          <p:nvPr/>
        </p:nvSpPr>
        <p:spPr>
          <a:xfrm>
            <a:off x="2849088" y="3289138"/>
            <a:ext cx="180000" cy="180000"/>
          </a:xfrm>
          <a:prstGeom prst="ellipse">
            <a:avLst/>
          </a:prstGeom>
          <a:solidFill>
            <a:srgbClr val="C00000"/>
          </a:solidFill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/>
          </a:p>
        </p:txBody>
      </p:sp>
      <p:sp>
        <p:nvSpPr>
          <p:cNvPr id="77" name="TextBox 76"/>
          <p:cNvSpPr txBox="1"/>
          <p:nvPr/>
        </p:nvSpPr>
        <p:spPr>
          <a:xfrm>
            <a:off x="2198968" y="3082906"/>
            <a:ext cx="8386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/>
              <a:t>Самара</a:t>
            </a:r>
            <a:endParaRPr lang="ru-RU" sz="1200" b="1" dirty="0"/>
          </a:p>
        </p:txBody>
      </p:sp>
      <p:sp>
        <p:nvSpPr>
          <p:cNvPr id="78" name="Овал 77"/>
          <p:cNvSpPr/>
          <p:nvPr/>
        </p:nvSpPr>
        <p:spPr>
          <a:xfrm>
            <a:off x="1679660" y="2914712"/>
            <a:ext cx="180000" cy="180000"/>
          </a:xfrm>
          <a:prstGeom prst="ellipse">
            <a:avLst/>
          </a:prstGeom>
          <a:solidFill>
            <a:srgbClr val="C00000"/>
          </a:solidFill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/>
          </a:p>
        </p:txBody>
      </p:sp>
      <p:sp>
        <p:nvSpPr>
          <p:cNvPr id="79" name="Овал 78"/>
          <p:cNvSpPr/>
          <p:nvPr/>
        </p:nvSpPr>
        <p:spPr>
          <a:xfrm>
            <a:off x="2058789" y="3131406"/>
            <a:ext cx="180000" cy="180000"/>
          </a:xfrm>
          <a:prstGeom prst="ellipse">
            <a:avLst/>
          </a:prstGeom>
          <a:solidFill>
            <a:srgbClr val="C00000"/>
          </a:solidFill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/>
          </a:p>
        </p:txBody>
      </p:sp>
      <p:sp>
        <p:nvSpPr>
          <p:cNvPr id="80" name="TextBox 79"/>
          <p:cNvSpPr txBox="1"/>
          <p:nvPr/>
        </p:nvSpPr>
        <p:spPr>
          <a:xfrm>
            <a:off x="1872637" y="2866277"/>
            <a:ext cx="8996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/>
              <a:t>Саратов</a:t>
            </a:r>
            <a:endParaRPr lang="ru-RU" sz="1200" b="1" dirty="0"/>
          </a:p>
        </p:txBody>
      </p:sp>
      <p:sp>
        <p:nvSpPr>
          <p:cNvPr id="81" name="Овал 80"/>
          <p:cNvSpPr/>
          <p:nvPr/>
        </p:nvSpPr>
        <p:spPr>
          <a:xfrm>
            <a:off x="554127" y="3084243"/>
            <a:ext cx="180000" cy="180000"/>
          </a:xfrm>
          <a:prstGeom prst="ellipse">
            <a:avLst/>
          </a:prstGeom>
          <a:solidFill>
            <a:srgbClr val="C00000"/>
          </a:solidFill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/>
          </a:p>
        </p:txBody>
      </p:sp>
      <p:sp>
        <p:nvSpPr>
          <p:cNvPr id="82" name="TextBox 81"/>
          <p:cNvSpPr txBox="1"/>
          <p:nvPr/>
        </p:nvSpPr>
        <p:spPr>
          <a:xfrm>
            <a:off x="554127" y="3019137"/>
            <a:ext cx="10066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/>
              <a:t>Ростов</a:t>
            </a:r>
            <a:br>
              <a:rPr lang="ru-RU" sz="1200" b="1" dirty="0" smtClean="0"/>
            </a:br>
            <a:r>
              <a:rPr lang="ru-RU" sz="1200" b="1" dirty="0" smtClean="0"/>
              <a:t>-на-Дону</a:t>
            </a:r>
            <a:endParaRPr lang="ru-RU" sz="1200" b="1" dirty="0"/>
          </a:p>
        </p:txBody>
      </p:sp>
      <p:sp>
        <p:nvSpPr>
          <p:cNvPr id="83" name="Овал 82"/>
          <p:cNvSpPr/>
          <p:nvPr/>
        </p:nvSpPr>
        <p:spPr>
          <a:xfrm>
            <a:off x="1292435" y="2688296"/>
            <a:ext cx="180000" cy="180000"/>
          </a:xfrm>
          <a:prstGeom prst="ellipse">
            <a:avLst/>
          </a:prstGeom>
          <a:solidFill>
            <a:srgbClr val="C00000"/>
          </a:solidFill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/>
          </a:p>
        </p:txBody>
      </p:sp>
      <p:sp>
        <p:nvSpPr>
          <p:cNvPr id="84" name="TextBox 83"/>
          <p:cNvSpPr txBox="1"/>
          <p:nvPr/>
        </p:nvSpPr>
        <p:spPr>
          <a:xfrm>
            <a:off x="1351310" y="2634439"/>
            <a:ext cx="9877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b="1" dirty="0" smtClean="0"/>
              <a:t>Воронеж</a:t>
            </a:r>
            <a:endParaRPr lang="ru-RU" sz="1200" b="1" dirty="0"/>
          </a:p>
        </p:txBody>
      </p:sp>
      <p:sp>
        <p:nvSpPr>
          <p:cNvPr id="85" name="Овал 84"/>
          <p:cNvSpPr/>
          <p:nvPr/>
        </p:nvSpPr>
        <p:spPr>
          <a:xfrm>
            <a:off x="1787613" y="1878374"/>
            <a:ext cx="180000" cy="180000"/>
          </a:xfrm>
          <a:prstGeom prst="ellipse">
            <a:avLst/>
          </a:prstGeom>
          <a:solidFill>
            <a:srgbClr val="C00000"/>
          </a:solidFill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/>
          </a:p>
        </p:txBody>
      </p:sp>
      <p:sp>
        <p:nvSpPr>
          <p:cNvPr id="86" name="TextBox 85"/>
          <p:cNvSpPr txBox="1"/>
          <p:nvPr/>
        </p:nvSpPr>
        <p:spPr>
          <a:xfrm>
            <a:off x="1882528" y="1780445"/>
            <a:ext cx="17104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/>
              <a:t>Санкт-Петербург</a:t>
            </a:r>
            <a:endParaRPr lang="ru-RU" sz="1200" b="1" dirty="0"/>
          </a:p>
        </p:txBody>
      </p:sp>
      <p:sp>
        <p:nvSpPr>
          <p:cNvPr id="87" name="Овал 86"/>
          <p:cNvSpPr/>
          <p:nvPr/>
        </p:nvSpPr>
        <p:spPr>
          <a:xfrm>
            <a:off x="2169732" y="2573815"/>
            <a:ext cx="180000" cy="180000"/>
          </a:xfrm>
          <a:prstGeom prst="ellipse">
            <a:avLst/>
          </a:prstGeom>
          <a:solidFill>
            <a:srgbClr val="C00000"/>
          </a:solidFill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/>
          </a:p>
        </p:txBody>
      </p:sp>
      <p:sp>
        <p:nvSpPr>
          <p:cNvPr id="88" name="Овал 87"/>
          <p:cNvSpPr/>
          <p:nvPr/>
        </p:nvSpPr>
        <p:spPr>
          <a:xfrm>
            <a:off x="1821340" y="2255200"/>
            <a:ext cx="180000" cy="180000"/>
          </a:xfrm>
          <a:prstGeom prst="ellipse">
            <a:avLst/>
          </a:prstGeom>
          <a:solidFill>
            <a:srgbClr val="0070C0"/>
          </a:solidFill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/>
          </a:p>
        </p:txBody>
      </p:sp>
      <p:sp>
        <p:nvSpPr>
          <p:cNvPr id="89" name="Овал 88"/>
          <p:cNvSpPr/>
          <p:nvPr/>
        </p:nvSpPr>
        <p:spPr>
          <a:xfrm>
            <a:off x="2156354" y="2057444"/>
            <a:ext cx="180000" cy="180000"/>
          </a:xfrm>
          <a:prstGeom prst="ellipse">
            <a:avLst/>
          </a:prstGeom>
          <a:solidFill>
            <a:srgbClr val="C00000"/>
          </a:solidFill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/>
          </a:p>
        </p:txBody>
      </p:sp>
      <p:sp>
        <p:nvSpPr>
          <p:cNvPr id="90" name="TextBox 89"/>
          <p:cNvSpPr txBox="1"/>
          <p:nvPr/>
        </p:nvSpPr>
        <p:spPr>
          <a:xfrm>
            <a:off x="1940507" y="2206700"/>
            <a:ext cx="83708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/>
              <a:t>Москва</a:t>
            </a:r>
            <a:endParaRPr lang="ru-RU" sz="1200" b="1" dirty="0"/>
          </a:p>
        </p:txBody>
      </p:sp>
      <p:sp>
        <p:nvSpPr>
          <p:cNvPr id="91" name="TextBox 90"/>
          <p:cNvSpPr txBox="1"/>
          <p:nvPr/>
        </p:nvSpPr>
        <p:spPr>
          <a:xfrm>
            <a:off x="2255173" y="2009196"/>
            <a:ext cx="118814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/>
              <a:t>Ярославль </a:t>
            </a:r>
            <a:endParaRPr lang="ru-RU" sz="1200" b="1" dirty="0"/>
          </a:p>
        </p:txBody>
      </p:sp>
      <p:sp>
        <p:nvSpPr>
          <p:cNvPr id="92" name="TextBox 91"/>
          <p:cNvSpPr txBox="1"/>
          <p:nvPr/>
        </p:nvSpPr>
        <p:spPr>
          <a:xfrm>
            <a:off x="2265369" y="2525315"/>
            <a:ext cx="18069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/>
              <a:t>Нижний Новгород</a:t>
            </a:r>
            <a:endParaRPr lang="ru-RU" sz="1200" b="1" dirty="0"/>
          </a:p>
        </p:txBody>
      </p:sp>
      <p:sp>
        <p:nvSpPr>
          <p:cNvPr id="93" name="Овал 92"/>
          <p:cNvSpPr/>
          <p:nvPr/>
        </p:nvSpPr>
        <p:spPr>
          <a:xfrm>
            <a:off x="923517" y="2333087"/>
            <a:ext cx="180000" cy="180000"/>
          </a:xfrm>
          <a:prstGeom prst="ellipse">
            <a:avLst/>
          </a:prstGeom>
          <a:solidFill>
            <a:srgbClr val="0070C0"/>
          </a:solidFill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/>
          </a:p>
        </p:txBody>
      </p:sp>
      <p:sp>
        <p:nvSpPr>
          <p:cNvPr id="94" name="TextBox 93"/>
          <p:cNvSpPr txBox="1"/>
          <p:nvPr/>
        </p:nvSpPr>
        <p:spPr>
          <a:xfrm>
            <a:off x="404294" y="2206700"/>
            <a:ext cx="6206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b="1" dirty="0" smtClean="0"/>
              <a:t>Киев</a:t>
            </a:r>
            <a:endParaRPr lang="ru-RU" sz="1200" b="1" dirty="0"/>
          </a:p>
        </p:txBody>
      </p:sp>
      <p:sp>
        <p:nvSpPr>
          <p:cNvPr id="95" name="Овал 94"/>
          <p:cNvSpPr/>
          <p:nvPr/>
        </p:nvSpPr>
        <p:spPr>
          <a:xfrm>
            <a:off x="3056163" y="4041195"/>
            <a:ext cx="180000" cy="180000"/>
          </a:xfrm>
          <a:prstGeom prst="ellipse">
            <a:avLst/>
          </a:prstGeom>
          <a:solidFill>
            <a:srgbClr val="0070C0"/>
          </a:solidFill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/>
          </a:p>
        </p:txBody>
      </p:sp>
      <p:sp>
        <p:nvSpPr>
          <p:cNvPr id="96" name="TextBox 95"/>
          <p:cNvSpPr txBox="1"/>
          <p:nvPr/>
        </p:nvSpPr>
        <p:spPr>
          <a:xfrm>
            <a:off x="3193647" y="3974512"/>
            <a:ext cx="79380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b="1" dirty="0" smtClean="0"/>
              <a:t>Астана</a:t>
            </a:r>
            <a:endParaRPr lang="ru-RU" sz="1200" b="1" dirty="0"/>
          </a:p>
        </p:txBody>
      </p:sp>
      <p:sp>
        <p:nvSpPr>
          <p:cNvPr id="97" name="Овал 96"/>
          <p:cNvSpPr/>
          <p:nvPr/>
        </p:nvSpPr>
        <p:spPr>
          <a:xfrm>
            <a:off x="3759067" y="3568130"/>
            <a:ext cx="180000" cy="180000"/>
          </a:xfrm>
          <a:prstGeom prst="ellipse">
            <a:avLst/>
          </a:prstGeom>
          <a:solidFill>
            <a:srgbClr val="C00000"/>
          </a:solidFill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/>
          </a:p>
        </p:txBody>
      </p:sp>
      <p:sp>
        <p:nvSpPr>
          <p:cNvPr id="113" name="TextBox 112"/>
          <p:cNvSpPr txBox="1"/>
          <p:nvPr/>
        </p:nvSpPr>
        <p:spPr>
          <a:xfrm>
            <a:off x="5323779" y="2714732"/>
            <a:ext cx="102303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>
                <a:solidFill>
                  <a:srgbClr val="C00000"/>
                </a:solidFill>
              </a:rPr>
              <a:t>РОССИЯ</a:t>
            </a:r>
            <a:endParaRPr lang="ru-RU" sz="1400" b="1" dirty="0">
              <a:solidFill>
                <a:srgbClr val="C00000"/>
              </a:solidFill>
            </a:endParaRPr>
          </a:p>
        </p:txBody>
      </p:sp>
      <p:sp>
        <p:nvSpPr>
          <p:cNvPr id="114" name="TextBox 113"/>
          <p:cNvSpPr txBox="1"/>
          <p:nvPr/>
        </p:nvSpPr>
        <p:spPr>
          <a:xfrm>
            <a:off x="2085589" y="4274154"/>
            <a:ext cx="123303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>
                <a:solidFill>
                  <a:srgbClr val="0066FF"/>
                </a:solidFill>
              </a:rPr>
              <a:t>КАЗАХСТАН</a:t>
            </a:r>
            <a:endParaRPr lang="ru-RU" sz="1200" b="1" dirty="0">
              <a:solidFill>
                <a:srgbClr val="0066FF"/>
              </a:solidFill>
            </a:endParaRPr>
          </a:p>
        </p:txBody>
      </p:sp>
      <p:sp>
        <p:nvSpPr>
          <p:cNvPr id="115" name="TextBox 114"/>
          <p:cNvSpPr txBox="1"/>
          <p:nvPr/>
        </p:nvSpPr>
        <p:spPr>
          <a:xfrm>
            <a:off x="323465" y="2448348"/>
            <a:ext cx="10278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>
                <a:solidFill>
                  <a:srgbClr val="E2AC00"/>
                </a:solidFill>
              </a:rPr>
              <a:t>УКРАИНА</a:t>
            </a:r>
            <a:endParaRPr lang="ru-RU" sz="1200" b="1" dirty="0">
              <a:solidFill>
                <a:srgbClr val="E2AC00"/>
              </a:solidFill>
            </a:endParaRPr>
          </a:p>
        </p:txBody>
      </p:sp>
      <p:sp>
        <p:nvSpPr>
          <p:cNvPr id="117" name="Овал 116"/>
          <p:cNvSpPr/>
          <p:nvPr/>
        </p:nvSpPr>
        <p:spPr>
          <a:xfrm>
            <a:off x="118578" y="1569824"/>
            <a:ext cx="180000" cy="180000"/>
          </a:xfrm>
          <a:prstGeom prst="ellipse">
            <a:avLst/>
          </a:prstGeom>
          <a:solidFill>
            <a:srgbClr val="C00000"/>
          </a:solidFill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i="1"/>
          </a:p>
        </p:txBody>
      </p:sp>
      <p:sp>
        <p:nvSpPr>
          <p:cNvPr id="118" name="Овал 117"/>
          <p:cNvSpPr/>
          <p:nvPr/>
        </p:nvSpPr>
        <p:spPr>
          <a:xfrm>
            <a:off x="118578" y="1205479"/>
            <a:ext cx="180000" cy="180000"/>
          </a:xfrm>
          <a:prstGeom prst="ellipse">
            <a:avLst/>
          </a:prstGeom>
          <a:solidFill>
            <a:srgbClr val="0070C0"/>
          </a:solidFill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i="1" dirty="0"/>
          </a:p>
        </p:txBody>
      </p:sp>
      <p:sp>
        <p:nvSpPr>
          <p:cNvPr id="8208" name="TextBox 8207"/>
          <p:cNvSpPr txBox="1"/>
          <p:nvPr/>
        </p:nvSpPr>
        <p:spPr>
          <a:xfrm>
            <a:off x="323465" y="1126202"/>
            <a:ext cx="247375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i="1" dirty="0" smtClean="0"/>
              <a:t>Представительство</a:t>
            </a:r>
            <a:endParaRPr lang="ru-RU" sz="1600" b="1" i="1" dirty="0"/>
          </a:p>
        </p:txBody>
      </p:sp>
      <p:sp>
        <p:nvSpPr>
          <p:cNvPr id="120" name="TextBox 119"/>
          <p:cNvSpPr txBox="1"/>
          <p:nvPr/>
        </p:nvSpPr>
        <p:spPr>
          <a:xfrm>
            <a:off x="323465" y="1490547"/>
            <a:ext cx="110799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i="1" dirty="0" smtClean="0"/>
              <a:t>Филиал</a:t>
            </a:r>
            <a:endParaRPr lang="ru-RU" sz="1600" b="1" i="1" dirty="0"/>
          </a:p>
        </p:txBody>
      </p:sp>
      <p:sp>
        <p:nvSpPr>
          <p:cNvPr id="73" name="Rectangle 37"/>
          <p:cNvSpPr>
            <a:spLocks noChangeArrowheads="1"/>
          </p:cNvSpPr>
          <p:nvPr/>
        </p:nvSpPr>
        <p:spPr bwMode="auto">
          <a:xfrm>
            <a:off x="127852" y="5598418"/>
            <a:ext cx="10241698" cy="1470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14300" lvl="2" indent="-114300">
              <a:spcBef>
                <a:spcPts val="200"/>
              </a:spcBef>
              <a:buClr>
                <a:srgbClr val="C00000"/>
              </a:buClr>
              <a:buFont typeface="Arial" pitchFamily="34" charset="0"/>
              <a:buChar char="■"/>
            </a:pPr>
            <a:r>
              <a:rPr lang="ru-RU" sz="1400" b="1" i="1" dirty="0" smtClean="0"/>
              <a:t>  </a:t>
            </a:r>
            <a:r>
              <a:rPr lang="ru-RU" sz="1400" i="1" dirty="0" smtClean="0"/>
              <a:t>ФГК</a:t>
            </a:r>
            <a:r>
              <a:rPr lang="en-US" sz="1400" i="1" dirty="0" smtClean="0"/>
              <a:t> </a:t>
            </a:r>
            <a:r>
              <a:rPr lang="ru-RU" sz="1400" i="1" dirty="0"/>
              <a:t>имеет </a:t>
            </a:r>
            <a:r>
              <a:rPr lang="en-US" sz="1400" i="1" dirty="0" smtClean="0"/>
              <a:t>14 </a:t>
            </a:r>
            <a:r>
              <a:rPr lang="ru-RU" sz="1400" i="1" dirty="0" smtClean="0"/>
              <a:t>филиалов в России,</a:t>
            </a:r>
            <a:r>
              <a:rPr lang="en-GB" sz="1400" i="1" dirty="0" smtClean="0"/>
              <a:t> </a:t>
            </a:r>
            <a:r>
              <a:rPr lang="en-US" sz="1400" i="1" dirty="0"/>
              <a:t>2 </a:t>
            </a:r>
            <a:r>
              <a:rPr lang="ru-RU" sz="1400" i="1" dirty="0" smtClean="0"/>
              <a:t>представительства в </a:t>
            </a:r>
            <a:r>
              <a:rPr lang="ru-RU" sz="1400" i="1" dirty="0"/>
              <a:t>Украине и </a:t>
            </a:r>
            <a:r>
              <a:rPr lang="ru-RU" sz="1400" i="1" dirty="0" smtClean="0"/>
              <a:t>Казахстане</a:t>
            </a:r>
          </a:p>
          <a:p>
            <a:pPr marL="266700" lvl="2" indent="-266700" defTabSz="1109663" eaLnBrk="0" hangingPunct="0">
              <a:lnSpc>
                <a:spcPct val="120000"/>
              </a:lnSpc>
              <a:spcBef>
                <a:spcPts val="500"/>
              </a:spcBef>
              <a:buClr>
                <a:srgbClr val="C00000"/>
              </a:buClr>
              <a:buSzPct val="90000"/>
              <a:buFont typeface="Wingdings" pitchFamily="2" charset="2"/>
              <a:buChar char="n"/>
              <a:defRPr/>
            </a:pPr>
            <a:r>
              <a:rPr lang="ru-RU" sz="1400" i="1" dirty="0" smtClean="0"/>
              <a:t>Компания </a:t>
            </a:r>
            <a:r>
              <a:rPr lang="ru-RU" sz="1400" i="1" dirty="0"/>
              <a:t>сотрудничает</a:t>
            </a:r>
            <a:r>
              <a:rPr lang="en-US" sz="1400" i="1" dirty="0"/>
              <a:t> </a:t>
            </a:r>
            <a:r>
              <a:rPr lang="ru-RU" sz="1400" i="1" dirty="0"/>
              <a:t>со всеми железными дорогами колеи 1 520 мм, включая</a:t>
            </a:r>
            <a:r>
              <a:rPr lang="en-US" sz="1400" i="1" dirty="0"/>
              <a:t>: </a:t>
            </a:r>
            <a:r>
              <a:rPr lang="ru-RU" sz="1400" i="1" dirty="0"/>
              <a:t>Беларусь, Украина</a:t>
            </a:r>
            <a:r>
              <a:rPr lang="en-US" sz="1400" i="1" dirty="0"/>
              <a:t>,</a:t>
            </a:r>
            <a:r>
              <a:rPr lang="ru-RU" sz="1400" i="1" dirty="0"/>
              <a:t> Казахстан</a:t>
            </a:r>
            <a:r>
              <a:rPr lang="en-US" sz="1400" i="1" dirty="0"/>
              <a:t>, </a:t>
            </a:r>
            <a:r>
              <a:rPr lang="ru-RU" sz="1400" i="1" dirty="0"/>
              <a:t>Азербайджан, Латвия</a:t>
            </a:r>
            <a:r>
              <a:rPr lang="en-US" sz="1400" i="1" dirty="0"/>
              <a:t>,</a:t>
            </a:r>
            <a:r>
              <a:rPr lang="ru-RU" sz="1400" i="1" dirty="0"/>
              <a:t> Литва, Эстония, Польша, </a:t>
            </a:r>
            <a:r>
              <a:rPr lang="ru-RU" sz="1400" i="1" dirty="0" smtClean="0"/>
              <a:t>Монголия</a:t>
            </a:r>
          </a:p>
          <a:p>
            <a:pPr marL="266700" lvl="2" indent="-266700" defTabSz="1109663" eaLnBrk="0" hangingPunct="0">
              <a:lnSpc>
                <a:spcPct val="120000"/>
              </a:lnSpc>
              <a:spcBef>
                <a:spcPts val="500"/>
              </a:spcBef>
              <a:buClr>
                <a:srgbClr val="C00000"/>
              </a:buClr>
              <a:buSzPct val="90000"/>
              <a:buFont typeface="Wingdings" pitchFamily="2" charset="2"/>
              <a:buChar char="n"/>
              <a:defRPr/>
            </a:pPr>
            <a:r>
              <a:rPr lang="ru-RU" sz="1400" b="1" i="1" dirty="0">
                <a:solidFill>
                  <a:srgbClr val="C00000"/>
                </a:solidFill>
              </a:rPr>
              <a:t>Широкая география присутствия позволяет предлагать услуги по перевозке грузов любому клиенту, вне зависимости от его места расположения и направления транспортировки</a:t>
            </a:r>
            <a:endParaRPr lang="en-GB" sz="1400" b="1" i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2307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" name="Группа 46"/>
          <p:cNvGrpSpPr/>
          <p:nvPr/>
        </p:nvGrpSpPr>
        <p:grpSpPr>
          <a:xfrm>
            <a:off x="134017" y="1563661"/>
            <a:ext cx="10009112" cy="3099792"/>
            <a:chOff x="236965" y="1920601"/>
            <a:chExt cx="10009112" cy="3099792"/>
          </a:xfrm>
        </p:grpSpPr>
        <p:graphicFrame>
          <p:nvGraphicFramePr>
            <p:cNvPr id="22" name="Диаграмма 21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208755058"/>
                </p:ext>
              </p:extLst>
            </p:nvPr>
          </p:nvGraphicFramePr>
          <p:xfrm>
            <a:off x="236965" y="1920601"/>
            <a:ext cx="10009112" cy="309979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pic>
          <p:nvPicPr>
            <p:cNvPr id="32" name="Picture 4" descr="http://politsib.ru/content/ТЭЦ2,3,%20тепломагистраль.jpg">
              <a:hlinkClick r:id="rId4"/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0554" y="3510186"/>
              <a:ext cx="834113" cy="3190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" name="Picture 6" descr="http://toplogos.ru/images/logo-rusal.png">
              <a:hlinkClick r:id="rId6"/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53127" y="3470497"/>
              <a:ext cx="747988" cy="3983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4" name="Picture 12" descr="Русский уголь">
              <a:hlinkClick r:id="rId8"/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68435" y="3563467"/>
              <a:ext cx="937480" cy="2657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" name="Picture 15" descr="http://is.park.ru/servlets/GetDocBody?guid=20a52849-d98a-48e1-b1d6-28b66bc9dee3">
              <a:hlinkClick r:id="rId10"/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18230" y="3470497"/>
              <a:ext cx="659169" cy="4765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" name="Picture 19" descr="http://feststep.com/files/logos/ilim.png">
              <a:hlinkClick r:id="rId10"/>
            </p:cNvPr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34569" y="3510186"/>
              <a:ext cx="897779" cy="2721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170" name="Picture 2" descr="http://www.nnk.ru.images.1c-bitrix-cdn.ru/bitrix/templates/naaco/images/logo.gif?1315385145">
              <a:hlinkClick r:id="rId13" tooltip="Главная"/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45216" y="3558162"/>
              <a:ext cx="1008112" cy="19401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Рисунок 18"/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12892" y="3479478"/>
              <a:ext cx="748228" cy="468889"/>
            </a:xfrm>
            <a:prstGeom prst="rect">
              <a:avLst/>
            </a:prstGeom>
          </p:spPr>
        </p:pic>
        <p:pic>
          <p:nvPicPr>
            <p:cNvPr id="21" name="Рисунок 20"/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12367" y="3486787"/>
              <a:ext cx="619125" cy="619125"/>
            </a:xfrm>
            <a:prstGeom prst="rect">
              <a:avLst/>
            </a:prstGeom>
          </p:spPr>
        </p:pic>
        <p:pic>
          <p:nvPicPr>
            <p:cNvPr id="43" name="Рисунок 42"/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19417" y="3516518"/>
              <a:ext cx="705118" cy="527357"/>
            </a:xfrm>
            <a:prstGeom prst="rect">
              <a:avLst/>
            </a:prstGeom>
          </p:spPr>
        </p:pic>
        <p:pic>
          <p:nvPicPr>
            <p:cNvPr id="45" name="Рисунок 44"/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32847" y="3486787"/>
              <a:ext cx="722163" cy="476138"/>
            </a:xfrm>
            <a:prstGeom prst="rect">
              <a:avLst/>
            </a:prstGeom>
          </p:spPr>
        </p:pic>
        <p:pic>
          <p:nvPicPr>
            <p:cNvPr id="46" name="Рисунок 45"/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35018" y="3477677"/>
              <a:ext cx="659142" cy="494357"/>
            </a:xfrm>
            <a:prstGeom prst="rect">
              <a:avLst/>
            </a:prstGeom>
          </p:spPr>
        </p:pic>
      </p:grpSp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135371" y="235041"/>
            <a:ext cx="8129740" cy="631438"/>
          </a:xfrm>
        </p:spPr>
        <p:txBody>
          <a:bodyPr vert="horz" lIns="0" tIns="50086" rIns="100171" bIns="50086" rtlCol="0" anchor="b">
            <a:noAutofit/>
          </a:bodyPr>
          <a:lstStyle/>
          <a:p>
            <a:r>
              <a:rPr lang="ru-RU" sz="1800" b="1" dirty="0" smtClean="0"/>
              <a:t>Клиентами ОАО «ФГК» являются практически все крупнейшие грузоотправители</a:t>
            </a:r>
            <a:endParaRPr lang="ru-RU" sz="1800" b="1" dirty="0"/>
          </a:p>
        </p:txBody>
      </p:sp>
      <p:sp>
        <p:nvSpPr>
          <p:cNvPr id="12" name="Rectangle 3">
            <a:hlinkClick r:id="rId10"/>
          </p:cNvPr>
          <p:cNvSpPr>
            <a:spLocks noChangeArrowheads="1"/>
          </p:cNvSpPr>
          <p:nvPr/>
        </p:nvSpPr>
        <p:spPr bwMode="auto">
          <a:xfrm>
            <a:off x="0" y="0"/>
            <a:ext cx="1036955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16" name="Rectangle 4">
            <a:hlinkClick r:id="rId10"/>
          </p:cNvPr>
          <p:cNvSpPr>
            <a:spLocks noChangeArrowheads="1"/>
          </p:cNvSpPr>
          <p:nvPr/>
        </p:nvSpPr>
        <p:spPr bwMode="auto">
          <a:xfrm>
            <a:off x="152400" y="152400"/>
            <a:ext cx="1036955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18" name="Rectangle 5">
            <a:hlinkClick r:id="rId10"/>
          </p:cNvPr>
          <p:cNvSpPr>
            <a:spLocks noChangeArrowheads="1"/>
          </p:cNvSpPr>
          <p:nvPr/>
        </p:nvSpPr>
        <p:spPr bwMode="auto">
          <a:xfrm>
            <a:off x="304800" y="304800"/>
            <a:ext cx="1036955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20" name="Rectangle 6">
            <a:hlinkClick r:id="rId10"/>
          </p:cNvPr>
          <p:cNvSpPr>
            <a:spLocks noChangeArrowheads="1"/>
          </p:cNvSpPr>
          <p:nvPr/>
        </p:nvSpPr>
        <p:spPr bwMode="auto">
          <a:xfrm>
            <a:off x="457200" y="457200"/>
            <a:ext cx="1036955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49" name="TextBox 48"/>
          <p:cNvSpPr txBox="1"/>
          <p:nvPr/>
        </p:nvSpPr>
        <p:spPr>
          <a:xfrm>
            <a:off x="756041" y="1133922"/>
            <a:ext cx="889538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i="1" dirty="0">
                <a:ea typeface="ＭＳ Ｐゴシック" charset="-128"/>
                <a:cs typeface="ＭＳ Ｐゴシック" charset="-128"/>
              </a:rPr>
              <a:t>Доля ОАО «ФГК» в перевозках крупнейших грузоотправителей в 2013 г</a:t>
            </a:r>
            <a:endParaRPr lang="ru-RU" sz="1600" i="1" dirty="0"/>
          </a:p>
        </p:txBody>
      </p:sp>
      <p:sp>
        <p:nvSpPr>
          <p:cNvPr id="50" name="Прямоугольник 49"/>
          <p:cNvSpPr/>
          <p:nvPr/>
        </p:nvSpPr>
        <p:spPr>
          <a:xfrm>
            <a:off x="9023265" y="1544484"/>
            <a:ext cx="1008112" cy="2273396"/>
          </a:xfrm>
          <a:prstGeom prst="rect">
            <a:avLst/>
          </a:prstGeom>
          <a:noFill/>
          <a:ln w="19050">
            <a:solidFill>
              <a:srgbClr val="C00000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" name="Прямоугольник 51"/>
          <p:cNvSpPr/>
          <p:nvPr/>
        </p:nvSpPr>
        <p:spPr>
          <a:xfrm>
            <a:off x="304800" y="1544484"/>
            <a:ext cx="1008112" cy="2273396"/>
          </a:xfrm>
          <a:prstGeom prst="rect">
            <a:avLst/>
          </a:prstGeom>
          <a:noFill/>
          <a:ln w="19050">
            <a:solidFill>
              <a:srgbClr val="C00000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рямоугольник 52"/>
          <p:cNvSpPr/>
          <p:nvPr/>
        </p:nvSpPr>
        <p:spPr>
          <a:xfrm>
            <a:off x="2088166" y="1544484"/>
            <a:ext cx="936368" cy="2273396"/>
          </a:xfrm>
          <a:prstGeom prst="rect">
            <a:avLst/>
          </a:prstGeom>
          <a:noFill/>
          <a:ln w="19050">
            <a:solidFill>
              <a:srgbClr val="C00000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Прямоугольник 53"/>
          <p:cNvSpPr/>
          <p:nvPr/>
        </p:nvSpPr>
        <p:spPr>
          <a:xfrm>
            <a:off x="4765486" y="1544484"/>
            <a:ext cx="942303" cy="2273396"/>
          </a:xfrm>
          <a:prstGeom prst="rect">
            <a:avLst/>
          </a:prstGeom>
          <a:noFill/>
          <a:ln w="19050">
            <a:solidFill>
              <a:srgbClr val="C00000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" name="Прямоугольник 54"/>
          <p:cNvSpPr/>
          <p:nvPr/>
        </p:nvSpPr>
        <p:spPr>
          <a:xfrm>
            <a:off x="3024534" y="1544484"/>
            <a:ext cx="905383" cy="2273396"/>
          </a:xfrm>
          <a:prstGeom prst="rect">
            <a:avLst/>
          </a:prstGeom>
          <a:noFill/>
          <a:ln w="19050">
            <a:solidFill>
              <a:srgbClr val="C00000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59" name="Группа 58"/>
          <p:cNvGrpSpPr/>
          <p:nvPr/>
        </p:nvGrpSpPr>
        <p:grpSpPr>
          <a:xfrm>
            <a:off x="340445" y="4302274"/>
            <a:ext cx="9726577" cy="307777"/>
            <a:chOff x="304800" y="5814442"/>
            <a:chExt cx="9726577" cy="307777"/>
          </a:xfrm>
        </p:grpSpPr>
        <p:sp>
          <p:nvSpPr>
            <p:cNvPr id="57" name="Прямоугольник 56"/>
            <p:cNvSpPr/>
            <p:nvPr/>
          </p:nvSpPr>
          <p:spPr>
            <a:xfrm>
              <a:off x="304800" y="5814442"/>
              <a:ext cx="9726577" cy="288032"/>
            </a:xfrm>
            <a:prstGeom prst="rect">
              <a:avLst/>
            </a:prstGeom>
            <a:noFill/>
            <a:ln w="19050">
              <a:solidFill>
                <a:srgbClr val="C00000"/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558872" y="5814442"/>
              <a:ext cx="9289723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400" b="1" i="1" dirty="0" smtClean="0">
                  <a:solidFill>
                    <a:srgbClr val="C00000"/>
                  </a:solidFill>
                </a:rPr>
                <a:t>Эти компании были одними из первых клиентов ОАО «ФГК», и остаются с нами 3 года!</a:t>
              </a:r>
              <a:endParaRPr lang="ru-RU" sz="1400" b="1" i="1" dirty="0">
                <a:solidFill>
                  <a:srgbClr val="C00000"/>
                </a:solidFill>
              </a:endParaRPr>
            </a:p>
          </p:txBody>
        </p:sp>
      </p:grpSp>
      <p:sp>
        <p:nvSpPr>
          <p:cNvPr id="61" name="Rectangle 29"/>
          <p:cNvSpPr/>
          <p:nvPr/>
        </p:nvSpPr>
        <p:spPr bwMode="gray">
          <a:xfrm>
            <a:off x="154649" y="4780519"/>
            <a:ext cx="4671809" cy="20174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996950" eaLnBrk="0" hangingPunct="0">
              <a:lnSpc>
                <a:spcPct val="120000"/>
              </a:lnSpc>
              <a:spcBef>
                <a:spcPts val="600"/>
              </a:spcBef>
              <a:spcAft>
                <a:spcPts val="300"/>
              </a:spcAft>
              <a:buClr>
                <a:srgbClr val="C00000"/>
              </a:buClr>
              <a:buSzPct val="85000"/>
              <a:buFont typeface="Wingdings" pitchFamily="2" charset="2"/>
              <a:buChar char="n"/>
              <a:tabLst>
                <a:tab pos="4787900" algn="l"/>
              </a:tabLst>
              <a:defRPr/>
            </a:pPr>
            <a:r>
              <a:rPr lang="ru-RU" sz="1400" b="1" dirty="0" smtClean="0">
                <a:ea typeface="Calibri" pitchFamily="34" charset="0"/>
                <a:cs typeface="Times New Roman" pitchFamily="18" charset="0"/>
                <a:sym typeface="Wingdings 3" pitchFamily="18" charset="2"/>
              </a:rPr>
              <a:t>Помимо крупных клиентов ОАО «ФГК» активно предоставляет операторские услуги средним и розничным грузоотправителям</a:t>
            </a:r>
          </a:p>
          <a:p>
            <a:pPr marL="171450" indent="-171450" defTabSz="996950" eaLnBrk="0" hangingPunct="0">
              <a:lnSpc>
                <a:spcPct val="120000"/>
              </a:lnSpc>
              <a:spcBef>
                <a:spcPts val="600"/>
              </a:spcBef>
              <a:spcAft>
                <a:spcPts val="300"/>
              </a:spcAft>
              <a:buClr>
                <a:srgbClr val="C00000"/>
              </a:buClr>
              <a:buSzPct val="85000"/>
              <a:buFont typeface="Wingdings" pitchFamily="2" charset="2"/>
              <a:buChar char="n"/>
              <a:tabLst>
                <a:tab pos="4787900" algn="l"/>
              </a:tabLst>
              <a:defRPr/>
            </a:pPr>
            <a:r>
              <a:rPr lang="ru-RU" sz="1400" b="1" dirty="0" smtClean="0">
                <a:ea typeface="Calibri" pitchFamily="34" charset="0"/>
                <a:cs typeface="Times New Roman" pitchFamily="18" charset="0"/>
                <a:sym typeface="Wingdings 3" pitchFamily="18" charset="2"/>
              </a:rPr>
              <a:t>Значительную долю в погрузке ФГК занимают воинские грузы и грузы для нужд ОАО «РЖД»</a:t>
            </a:r>
          </a:p>
        </p:txBody>
      </p:sp>
      <p:graphicFrame>
        <p:nvGraphicFramePr>
          <p:cNvPr id="62" name="Диаграмма 6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26986933"/>
              </p:ext>
            </p:extLst>
          </p:nvPr>
        </p:nvGraphicFramePr>
        <p:xfrm>
          <a:off x="5242028" y="5022354"/>
          <a:ext cx="4572000" cy="22757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63" name="Прямоугольник 62"/>
          <p:cNvSpPr/>
          <p:nvPr/>
        </p:nvSpPr>
        <p:spPr>
          <a:xfrm>
            <a:off x="5184775" y="4662314"/>
            <a:ext cx="462528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i="1" dirty="0">
                <a:cs typeface="Arial" pitchFamily="34" charset="0"/>
              </a:rPr>
              <a:t>Структура </a:t>
            </a:r>
            <a:r>
              <a:rPr lang="ru-RU" sz="1400" b="1" i="1" dirty="0" smtClean="0">
                <a:cs typeface="Arial" pitchFamily="34" charset="0"/>
              </a:rPr>
              <a:t>перевозок </a:t>
            </a:r>
            <a:r>
              <a:rPr lang="ru-RU" sz="1400" b="1" i="1" dirty="0">
                <a:cs typeface="Arial" pitchFamily="34" charset="0"/>
              </a:rPr>
              <a:t>ОАО «ФГК» </a:t>
            </a:r>
            <a:endParaRPr lang="ru-RU" sz="1400" b="1" i="1" dirty="0" smtClean="0">
              <a:cs typeface="Arial" pitchFamily="34" charset="0"/>
            </a:endParaRPr>
          </a:p>
          <a:p>
            <a:pPr algn="ctr"/>
            <a:r>
              <a:rPr lang="ru-RU" sz="1400" b="1" i="1" dirty="0" smtClean="0">
                <a:cs typeface="Arial" pitchFamily="34" charset="0"/>
              </a:rPr>
              <a:t>по величине грузоотправителей </a:t>
            </a:r>
            <a:r>
              <a:rPr lang="ru-RU" sz="1400" b="1" i="1" dirty="0">
                <a:cs typeface="Arial" pitchFamily="34" charset="0"/>
              </a:rPr>
              <a:t>в </a:t>
            </a:r>
            <a:r>
              <a:rPr lang="ru-RU" sz="1400" b="1" i="1" dirty="0" smtClean="0">
                <a:cs typeface="Arial" pitchFamily="34" charset="0"/>
              </a:rPr>
              <a:t>2013 </a:t>
            </a:r>
            <a:r>
              <a:rPr lang="ru-RU" sz="1400" b="1" i="1" dirty="0">
                <a:cs typeface="Arial" pitchFamily="34" charset="0"/>
              </a:rPr>
              <a:t>г.</a:t>
            </a:r>
            <a:endParaRPr lang="ru-RU" sz="1600" b="1" i="1" dirty="0"/>
          </a:p>
        </p:txBody>
      </p:sp>
    </p:spTree>
    <p:extLst>
      <p:ext uri="{BB962C8B-B14F-4D97-AF65-F5344CB8AC3E}">
        <p14:creationId xmlns:p14="http://schemas.microsoft.com/office/powerpoint/2010/main" val="1370410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Диаграмма 2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27043875"/>
              </p:ext>
            </p:extLst>
          </p:nvPr>
        </p:nvGraphicFramePr>
        <p:xfrm>
          <a:off x="735410" y="1709986"/>
          <a:ext cx="3740678" cy="22256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144215" y="70436"/>
            <a:ext cx="8129740" cy="796043"/>
          </a:xfrm>
        </p:spPr>
        <p:txBody>
          <a:bodyPr vert="horz" lIns="0" tIns="50086" rIns="100171" bIns="50086" rtlCol="0" anchor="b">
            <a:noAutofit/>
          </a:bodyPr>
          <a:lstStyle/>
          <a:p>
            <a:r>
              <a:rPr lang="ru-RU" sz="1800" b="1" dirty="0" smtClean="0"/>
              <a:t>Одна из ключевых задач ОАО «ФГК» - обновление и </a:t>
            </a:r>
            <a:r>
              <a:rPr lang="ru-RU" sz="1800" b="1" dirty="0"/>
              <a:t>модернизация </a:t>
            </a:r>
            <a:r>
              <a:rPr lang="ru-RU" sz="1800" b="1" dirty="0" smtClean="0"/>
              <a:t>парка </a:t>
            </a:r>
            <a:r>
              <a:rPr lang="ru-RU" sz="1800" b="1" dirty="0"/>
              <a:t>вагонов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45865" y="1138460"/>
            <a:ext cx="4548928" cy="454883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95630" tIns="47815" rIns="95630" bIns="47815"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</a:rPr>
              <a:t>Закупка подвижного </a:t>
            </a:r>
            <a:r>
              <a:rPr lang="ru-RU" sz="1400" b="1" dirty="0" smtClean="0">
                <a:solidFill>
                  <a:schemeClr val="tx1"/>
                </a:solidFill>
              </a:rPr>
              <a:t>состава </a:t>
            </a:r>
          </a:p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в 2011-2013гг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430814" y="2652450"/>
            <a:ext cx="1156950" cy="435118"/>
          </a:xfrm>
          <a:prstGeom prst="rect">
            <a:avLst/>
          </a:prstGeom>
          <a:noFill/>
        </p:spPr>
        <p:txBody>
          <a:bodyPr wrap="square" lIns="95630" tIns="47815" rIns="95630" bIns="47815" rtlCol="0">
            <a:spAutoFit/>
          </a:bodyPr>
          <a:lstStyle/>
          <a:p>
            <a:pPr algn="ctr"/>
            <a:r>
              <a:rPr lang="ru-RU" sz="1100" b="1" dirty="0" smtClean="0">
                <a:solidFill>
                  <a:srgbClr val="C00000"/>
                </a:solidFill>
              </a:rPr>
              <a:t>17 850</a:t>
            </a:r>
            <a:endParaRPr lang="ru-RU" sz="1100" b="1" dirty="0">
              <a:solidFill>
                <a:srgbClr val="C00000"/>
              </a:solidFill>
            </a:endParaRPr>
          </a:p>
          <a:p>
            <a:pPr algn="ctr"/>
            <a:r>
              <a:rPr lang="ru-RU" sz="1100" b="1" dirty="0">
                <a:solidFill>
                  <a:srgbClr val="C00000"/>
                </a:solidFill>
              </a:rPr>
              <a:t>вагонов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5077661" y="1160564"/>
            <a:ext cx="5083882" cy="432779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95630" tIns="47815" rIns="95630" bIns="47815"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</a:rPr>
              <a:t>           Плановые виды ремонта подвижного состава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485779" y="6318498"/>
            <a:ext cx="9361093" cy="595407"/>
          </a:xfrm>
          <a:prstGeom prst="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95630" tIns="47815" rIns="95630" bIns="47815" rtlCol="0" anchor="ctr"/>
          <a:lstStyle/>
          <a:p>
            <a:pPr algn="ctr">
              <a:buClr>
                <a:srgbClr val="C00000"/>
              </a:buClr>
            </a:pPr>
            <a:r>
              <a:rPr lang="ru-RU" sz="1400" b="1" dirty="0" smtClean="0">
                <a:solidFill>
                  <a:schemeClr val="tx1"/>
                </a:solidFill>
              </a:rPr>
              <a:t>В результате проводимых мероприятий средний </a:t>
            </a:r>
            <a:r>
              <a:rPr lang="ru-RU" sz="1400" b="1" dirty="0">
                <a:solidFill>
                  <a:schemeClr val="tx1"/>
                </a:solidFill>
              </a:rPr>
              <a:t>возраст </a:t>
            </a:r>
            <a:r>
              <a:rPr lang="ru-RU" sz="1400" b="1" dirty="0" smtClean="0">
                <a:solidFill>
                  <a:schemeClr val="tx1"/>
                </a:solidFill>
              </a:rPr>
              <a:t>вагонов ФГК </a:t>
            </a:r>
            <a:r>
              <a:rPr lang="ru-RU" sz="1400" b="1" dirty="0">
                <a:solidFill>
                  <a:schemeClr val="tx1"/>
                </a:solidFill>
              </a:rPr>
              <a:t>сокращен </a:t>
            </a:r>
            <a:endParaRPr lang="ru-RU" sz="1400" b="1" dirty="0" smtClean="0">
              <a:solidFill>
                <a:schemeClr val="tx1"/>
              </a:solidFill>
            </a:endParaRPr>
          </a:p>
          <a:p>
            <a:pPr algn="ctr">
              <a:buClr>
                <a:srgbClr val="C00000"/>
              </a:buClr>
            </a:pPr>
            <a:r>
              <a:rPr lang="ru-RU" sz="1400" b="1" dirty="0" smtClean="0">
                <a:solidFill>
                  <a:schemeClr val="tx1"/>
                </a:solidFill>
              </a:rPr>
              <a:t>с </a:t>
            </a:r>
            <a:r>
              <a:rPr lang="ru-RU" sz="1400" b="1" u="sng" dirty="0" smtClean="0">
                <a:solidFill>
                  <a:srgbClr val="C00000"/>
                </a:solidFill>
              </a:rPr>
              <a:t>22 лет </a:t>
            </a:r>
            <a:r>
              <a:rPr lang="ru-RU" sz="1400" b="1" dirty="0" smtClean="0">
                <a:solidFill>
                  <a:srgbClr val="C00000"/>
                </a:solidFill>
              </a:rPr>
              <a:t>в 2010 году </a:t>
            </a:r>
            <a:r>
              <a:rPr lang="ru-RU" sz="1400" b="1" dirty="0" smtClean="0">
                <a:solidFill>
                  <a:schemeClr val="tx1"/>
                </a:solidFill>
              </a:rPr>
              <a:t>до </a:t>
            </a:r>
            <a:r>
              <a:rPr lang="ru-RU" sz="1400" b="1" u="sng" dirty="0" smtClean="0">
                <a:solidFill>
                  <a:srgbClr val="C00000"/>
                </a:solidFill>
              </a:rPr>
              <a:t>20 лет </a:t>
            </a:r>
            <a:r>
              <a:rPr lang="ru-RU" sz="1400" b="1" dirty="0" smtClean="0">
                <a:solidFill>
                  <a:srgbClr val="C00000"/>
                </a:solidFill>
              </a:rPr>
              <a:t>в 2013 году</a:t>
            </a:r>
            <a:endParaRPr lang="ru-RU" sz="1400" b="1" dirty="0">
              <a:solidFill>
                <a:srgbClr val="C00000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261789" y="1593343"/>
            <a:ext cx="4715626" cy="773672"/>
          </a:xfrm>
          <a:prstGeom prst="rect">
            <a:avLst/>
          </a:prstGeom>
          <a:noFill/>
        </p:spPr>
        <p:txBody>
          <a:bodyPr wrap="square" lIns="95630" tIns="47815" rIns="95630" bIns="47815" rtlCol="0">
            <a:spAutoFit/>
          </a:bodyPr>
          <a:lstStyle/>
          <a:p>
            <a:pPr algn="ctr"/>
            <a:r>
              <a:rPr lang="ru-RU" sz="1100" b="1" dirty="0" smtClean="0">
                <a:solidFill>
                  <a:srgbClr val="C00000"/>
                </a:solidFill>
              </a:rPr>
              <a:t>За 2011-2013 </a:t>
            </a:r>
            <a:r>
              <a:rPr lang="ru-RU" sz="1100" b="1" dirty="0" err="1" smtClean="0">
                <a:solidFill>
                  <a:srgbClr val="C00000"/>
                </a:solidFill>
              </a:rPr>
              <a:t>гг</a:t>
            </a:r>
            <a:r>
              <a:rPr lang="ru-RU" sz="1100" b="1" dirty="0" smtClean="0">
                <a:solidFill>
                  <a:srgbClr val="C00000"/>
                </a:solidFill>
              </a:rPr>
              <a:t> ОАО </a:t>
            </a:r>
            <a:r>
              <a:rPr lang="ru-RU" sz="1100" b="1" dirty="0">
                <a:solidFill>
                  <a:srgbClr val="C00000"/>
                </a:solidFill>
              </a:rPr>
              <a:t>«ФГК» было </a:t>
            </a:r>
            <a:r>
              <a:rPr lang="ru-RU" sz="1100" b="1" dirty="0" smtClean="0">
                <a:solidFill>
                  <a:srgbClr val="C00000"/>
                </a:solidFill>
              </a:rPr>
              <a:t>проведено более 200 тысяч плановых ремонтов.</a:t>
            </a:r>
          </a:p>
          <a:p>
            <a:pPr algn="ctr"/>
            <a:r>
              <a:rPr lang="ru-RU" sz="1100" b="1" dirty="0" smtClean="0">
                <a:solidFill>
                  <a:srgbClr val="C00000"/>
                </a:solidFill>
              </a:rPr>
              <a:t>Около 76 тысяч вагонов было отремонтировано с продлением срока службы</a:t>
            </a:r>
            <a:endParaRPr lang="ru-RU" sz="1100" b="1" dirty="0">
              <a:solidFill>
                <a:srgbClr val="C00000"/>
              </a:solidFill>
            </a:endParaRPr>
          </a:p>
        </p:txBody>
      </p:sp>
      <p:sp>
        <p:nvSpPr>
          <p:cNvPr id="44" name="Freeform 86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5198622" y="1194226"/>
            <a:ext cx="466049" cy="365453"/>
          </a:xfrm>
          <a:custGeom>
            <a:avLst/>
            <a:gdLst>
              <a:gd name="T0" fmla="*/ 0 w 648"/>
              <a:gd name="T1" fmla="*/ 374 h 618"/>
              <a:gd name="T2" fmla="*/ 88 w 648"/>
              <a:gd name="T3" fmla="*/ 320 h 618"/>
              <a:gd name="T4" fmla="*/ 122 w 648"/>
              <a:gd name="T5" fmla="*/ 340 h 618"/>
              <a:gd name="T6" fmla="*/ 184 w 648"/>
              <a:gd name="T7" fmla="*/ 452 h 618"/>
              <a:gd name="T8" fmla="*/ 278 w 648"/>
              <a:gd name="T9" fmla="*/ 316 h 618"/>
              <a:gd name="T10" fmla="*/ 434 w 648"/>
              <a:gd name="T11" fmla="*/ 148 h 618"/>
              <a:gd name="T12" fmla="*/ 534 w 648"/>
              <a:gd name="T13" fmla="*/ 60 h 618"/>
              <a:gd name="T14" fmla="*/ 632 w 648"/>
              <a:gd name="T15" fmla="*/ 0 h 618"/>
              <a:gd name="T16" fmla="*/ 648 w 648"/>
              <a:gd name="T17" fmla="*/ 26 h 618"/>
              <a:gd name="T18" fmla="*/ 566 w 648"/>
              <a:gd name="T19" fmla="*/ 98 h 618"/>
              <a:gd name="T20" fmla="*/ 448 w 648"/>
              <a:gd name="T21" fmla="*/ 230 h 618"/>
              <a:gd name="T22" fmla="*/ 346 w 648"/>
              <a:gd name="T23" fmla="*/ 360 h 618"/>
              <a:gd name="T24" fmla="*/ 234 w 648"/>
              <a:gd name="T25" fmla="*/ 554 h 618"/>
              <a:gd name="T26" fmla="*/ 144 w 648"/>
              <a:gd name="T27" fmla="*/ 618 h 618"/>
              <a:gd name="T28" fmla="*/ 82 w 648"/>
              <a:gd name="T29" fmla="*/ 466 h 618"/>
              <a:gd name="T30" fmla="*/ 42 w 648"/>
              <a:gd name="T31" fmla="*/ 404 h 618"/>
              <a:gd name="T32" fmla="*/ 0 w 648"/>
              <a:gd name="T33" fmla="*/ 374 h 618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648"/>
              <a:gd name="T52" fmla="*/ 0 h 618"/>
              <a:gd name="T53" fmla="*/ 648 w 648"/>
              <a:gd name="T54" fmla="*/ 618 h 618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rgbClr val="C000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5630" tIns="47815" rIns="95630" bIns="47815" anchor="ctr"/>
          <a:lstStyle/>
          <a:p>
            <a:endParaRPr lang="ru-RU" sz="1100">
              <a:latin typeface="Century Schoolbook" pitchFamily="18" charset="0"/>
            </a:endParaRPr>
          </a:p>
        </p:txBody>
      </p:sp>
      <p:sp>
        <p:nvSpPr>
          <p:cNvPr id="28" name="Freeform 86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360239" y="1183174"/>
            <a:ext cx="466049" cy="365453"/>
          </a:xfrm>
          <a:custGeom>
            <a:avLst/>
            <a:gdLst>
              <a:gd name="T0" fmla="*/ 0 w 648"/>
              <a:gd name="T1" fmla="*/ 374 h 618"/>
              <a:gd name="T2" fmla="*/ 88 w 648"/>
              <a:gd name="T3" fmla="*/ 320 h 618"/>
              <a:gd name="T4" fmla="*/ 122 w 648"/>
              <a:gd name="T5" fmla="*/ 340 h 618"/>
              <a:gd name="T6" fmla="*/ 184 w 648"/>
              <a:gd name="T7" fmla="*/ 452 h 618"/>
              <a:gd name="T8" fmla="*/ 278 w 648"/>
              <a:gd name="T9" fmla="*/ 316 h 618"/>
              <a:gd name="T10" fmla="*/ 434 w 648"/>
              <a:gd name="T11" fmla="*/ 148 h 618"/>
              <a:gd name="T12" fmla="*/ 534 w 648"/>
              <a:gd name="T13" fmla="*/ 60 h 618"/>
              <a:gd name="T14" fmla="*/ 632 w 648"/>
              <a:gd name="T15" fmla="*/ 0 h 618"/>
              <a:gd name="T16" fmla="*/ 648 w 648"/>
              <a:gd name="T17" fmla="*/ 26 h 618"/>
              <a:gd name="T18" fmla="*/ 566 w 648"/>
              <a:gd name="T19" fmla="*/ 98 h 618"/>
              <a:gd name="T20" fmla="*/ 448 w 648"/>
              <a:gd name="T21" fmla="*/ 230 h 618"/>
              <a:gd name="T22" fmla="*/ 346 w 648"/>
              <a:gd name="T23" fmla="*/ 360 h 618"/>
              <a:gd name="T24" fmla="*/ 234 w 648"/>
              <a:gd name="T25" fmla="*/ 554 h 618"/>
              <a:gd name="T26" fmla="*/ 144 w 648"/>
              <a:gd name="T27" fmla="*/ 618 h 618"/>
              <a:gd name="T28" fmla="*/ 82 w 648"/>
              <a:gd name="T29" fmla="*/ 466 h 618"/>
              <a:gd name="T30" fmla="*/ 42 w 648"/>
              <a:gd name="T31" fmla="*/ 404 h 618"/>
              <a:gd name="T32" fmla="*/ 0 w 648"/>
              <a:gd name="T33" fmla="*/ 374 h 618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648"/>
              <a:gd name="T52" fmla="*/ 0 h 618"/>
              <a:gd name="T53" fmla="*/ 648 w 648"/>
              <a:gd name="T54" fmla="*/ 618 h 618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rgbClr val="C000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5630" tIns="47815" rIns="95630" bIns="47815" anchor="ctr"/>
          <a:lstStyle/>
          <a:p>
            <a:endParaRPr lang="ru-RU" sz="1100">
              <a:latin typeface="Century Schoolbook" pitchFamily="18" charset="0"/>
            </a:endParaRPr>
          </a:p>
        </p:txBody>
      </p:sp>
      <p:graphicFrame>
        <p:nvGraphicFramePr>
          <p:cNvPr id="29" name="Диаграмма 2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23267860"/>
              </p:ext>
            </p:extLst>
          </p:nvPr>
        </p:nvGraphicFramePr>
        <p:xfrm>
          <a:off x="5695951" y="2471119"/>
          <a:ext cx="3953709" cy="14711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0" name="Прямоугольник 29"/>
          <p:cNvSpPr/>
          <p:nvPr/>
        </p:nvSpPr>
        <p:spPr>
          <a:xfrm>
            <a:off x="5374437" y="2364813"/>
            <a:ext cx="462528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i="1" dirty="0" smtClean="0">
                <a:cs typeface="Arial" pitchFamily="34" charset="0"/>
              </a:rPr>
              <a:t>Сокращение доли нерабочего парка ФГК</a:t>
            </a:r>
            <a:endParaRPr lang="ru-RU" sz="1400" b="1" i="1" dirty="0"/>
          </a:p>
        </p:txBody>
      </p:sp>
      <p:sp>
        <p:nvSpPr>
          <p:cNvPr id="31" name="Прямоугольник 30"/>
          <p:cNvSpPr/>
          <p:nvPr/>
        </p:nvSpPr>
        <p:spPr>
          <a:xfrm>
            <a:off x="2291189" y="4086251"/>
            <a:ext cx="5382622" cy="454883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95630" tIns="47815" rIns="95630" bIns="47815"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Списание изношенного </a:t>
            </a:r>
            <a:r>
              <a:rPr lang="ru-RU" sz="1400" b="1" dirty="0">
                <a:solidFill>
                  <a:schemeClr val="tx1"/>
                </a:solidFill>
              </a:rPr>
              <a:t>подвижного </a:t>
            </a:r>
            <a:endParaRPr lang="ru-RU" sz="1400" b="1" dirty="0" smtClean="0">
              <a:solidFill>
                <a:schemeClr val="tx1"/>
              </a:solidFill>
            </a:endParaRPr>
          </a:p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состава в 2011-2013гг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32" name="Freeform 8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469239" y="4123742"/>
            <a:ext cx="466049" cy="365453"/>
          </a:xfrm>
          <a:custGeom>
            <a:avLst/>
            <a:gdLst>
              <a:gd name="T0" fmla="*/ 0 w 648"/>
              <a:gd name="T1" fmla="*/ 374 h 618"/>
              <a:gd name="T2" fmla="*/ 88 w 648"/>
              <a:gd name="T3" fmla="*/ 320 h 618"/>
              <a:gd name="T4" fmla="*/ 122 w 648"/>
              <a:gd name="T5" fmla="*/ 340 h 618"/>
              <a:gd name="T6" fmla="*/ 184 w 648"/>
              <a:gd name="T7" fmla="*/ 452 h 618"/>
              <a:gd name="T8" fmla="*/ 278 w 648"/>
              <a:gd name="T9" fmla="*/ 316 h 618"/>
              <a:gd name="T10" fmla="*/ 434 w 648"/>
              <a:gd name="T11" fmla="*/ 148 h 618"/>
              <a:gd name="T12" fmla="*/ 534 w 648"/>
              <a:gd name="T13" fmla="*/ 60 h 618"/>
              <a:gd name="T14" fmla="*/ 632 w 648"/>
              <a:gd name="T15" fmla="*/ 0 h 618"/>
              <a:gd name="T16" fmla="*/ 648 w 648"/>
              <a:gd name="T17" fmla="*/ 26 h 618"/>
              <a:gd name="T18" fmla="*/ 566 w 648"/>
              <a:gd name="T19" fmla="*/ 98 h 618"/>
              <a:gd name="T20" fmla="*/ 448 w 648"/>
              <a:gd name="T21" fmla="*/ 230 h 618"/>
              <a:gd name="T22" fmla="*/ 346 w 648"/>
              <a:gd name="T23" fmla="*/ 360 h 618"/>
              <a:gd name="T24" fmla="*/ 234 w 648"/>
              <a:gd name="T25" fmla="*/ 554 h 618"/>
              <a:gd name="T26" fmla="*/ 144 w 648"/>
              <a:gd name="T27" fmla="*/ 618 h 618"/>
              <a:gd name="T28" fmla="*/ 82 w 648"/>
              <a:gd name="T29" fmla="*/ 466 h 618"/>
              <a:gd name="T30" fmla="*/ 42 w 648"/>
              <a:gd name="T31" fmla="*/ 404 h 618"/>
              <a:gd name="T32" fmla="*/ 0 w 648"/>
              <a:gd name="T33" fmla="*/ 374 h 618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648"/>
              <a:gd name="T52" fmla="*/ 0 h 618"/>
              <a:gd name="T53" fmla="*/ 648 w 648"/>
              <a:gd name="T54" fmla="*/ 618 h 618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rgbClr val="C000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5630" tIns="47815" rIns="95630" bIns="47815" anchor="ctr"/>
          <a:lstStyle/>
          <a:p>
            <a:endParaRPr lang="ru-RU" sz="1100">
              <a:latin typeface="Century Schoolbook" pitchFamily="18" charset="0"/>
            </a:endParaRPr>
          </a:p>
        </p:txBody>
      </p:sp>
      <p:graphicFrame>
        <p:nvGraphicFramePr>
          <p:cNvPr id="34" name="Диаграмма 3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79026078"/>
              </p:ext>
            </p:extLst>
          </p:nvPr>
        </p:nvGraphicFramePr>
        <p:xfrm>
          <a:off x="2516027" y="4735217"/>
          <a:ext cx="5061534" cy="14383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4126021" y="4627335"/>
            <a:ext cx="67508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b="1" dirty="0" smtClean="0"/>
              <a:t>7 589</a:t>
            </a:r>
            <a:endParaRPr lang="ru-RU" sz="1050" b="1" dirty="0"/>
          </a:p>
        </p:txBody>
      </p:sp>
      <p:sp>
        <p:nvSpPr>
          <p:cNvPr id="35" name="TextBox 34"/>
          <p:cNvSpPr txBox="1"/>
          <p:nvPr/>
        </p:nvSpPr>
        <p:spPr>
          <a:xfrm>
            <a:off x="5388227" y="4811064"/>
            <a:ext cx="67508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b="1" dirty="0" smtClean="0"/>
              <a:t>6 273</a:t>
            </a:r>
            <a:endParaRPr lang="ru-RU" sz="1050" b="1" dirty="0"/>
          </a:p>
        </p:txBody>
      </p:sp>
      <p:sp>
        <p:nvSpPr>
          <p:cNvPr id="36" name="TextBox 35"/>
          <p:cNvSpPr txBox="1"/>
          <p:nvPr/>
        </p:nvSpPr>
        <p:spPr>
          <a:xfrm>
            <a:off x="2948843" y="5454403"/>
            <a:ext cx="67508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b="1" dirty="0" smtClean="0"/>
              <a:t>1 051</a:t>
            </a:r>
            <a:endParaRPr lang="ru-RU" sz="1050" b="1" dirty="0"/>
          </a:p>
        </p:txBody>
      </p:sp>
    </p:spTree>
    <p:extLst>
      <p:ext uri="{BB962C8B-B14F-4D97-AF65-F5344CB8AC3E}">
        <p14:creationId xmlns:p14="http://schemas.microsoft.com/office/powerpoint/2010/main" val="16221698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Группа 31"/>
          <p:cNvGrpSpPr/>
          <p:nvPr/>
        </p:nvGrpSpPr>
        <p:grpSpPr>
          <a:xfrm>
            <a:off x="13458" y="3869224"/>
            <a:ext cx="4176663" cy="2693545"/>
            <a:chOff x="3816623" y="2418526"/>
            <a:chExt cx="5760640" cy="4320480"/>
          </a:xfrm>
        </p:grpSpPr>
        <p:pic>
          <p:nvPicPr>
            <p:cNvPr id="33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-22000" contras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16623" y="2418526"/>
              <a:ext cx="5760640" cy="43204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5" name="Picture 6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797250">
              <a:off x="6376665" y="5270152"/>
              <a:ext cx="956363" cy="4573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6" name="Picture 7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20989" y="4410140"/>
              <a:ext cx="646927" cy="6469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7" name="Picture 12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488643">
              <a:off x="7508000" y="3343925"/>
              <a:ext cx="888629" cy="46570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9" name="Picture 9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65243" y="3773906"/>
              <a:ext cx="899852" cy="5004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8" name="Прямоугольник 17"/>
          <p:cNvSpPr/>
          <p:nvPr/>
        </p:nvSpPr>
        <p:spPr>
          <a:xfrm>
            <a:off x="5926842" y="1040720"/>
            <a:ext cx="3710684" cy="307777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/>
          <a:p>
            <a:pPr algn="ctr" defTabSz="1001480"/>
            <a:r>
              <a:rPr lang="ru-RU" sz="1400" b="1" dirty="0" smtClean="0">
                <a:solidFill>
                  <a:prstClr val="white"/>
                </a:solidFill>
                <a:ea typeface="Verdana" pitchFamily="34" charset="0"/>
                <a:cs typeface="Verdana" pitchFamily="34" charset="0"/>
              </a:rPr>
              <a:t>ПУБЛИЧНАЯ ОФЕРТА</a:t>
            </a:r>
            <a:endParaRPr lang="ru-RU" sz="1400" dirty="0">
              <a:solidFill>
                <a:prstClr val="white"/>
              </a:solidFill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40" name="Группа 39"/>
          <p:cNvGrpSpPr/>
          <p:nvPr/>
        </p:nvGrpSpPr>
        <p:grpSpPr>
          <a:xfrm>
            <a:off x="2456189" y="4639369"/>
            <a:ext cx="8102680" cy="2101307"/>
            <a:chOff x="4245872" y="6023308"/>
            <a:chExt cx="8102680" cy="2101307"/>
          </a:xfrm>
        </p:grpSpPr>
        <p:sp>
          <p:nvSpPr>
            <p:cNvPr id="41" name="Прямоугольник 40"/>
            <p:cNvSpPr/>
            <p:nvPr/>
          </p:nvSpPr>
          <p:spPr>
            <a:xfrm>
              <a:off x="5558528" y="6023308"/>
              <a:ext cx="6696744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1001480"/>
              <a:r>
                <a:rPr lang="ru-RU" sz="1200" b="1" dirty="0" smtClean="0">
                  <a:solidFill>
                    <a:prstClr val="black"/>
                  </a:solidFill>
                  <a:ea typeface="Verdana" pitchFamily="34" charset="0"/>
                  <a:cs typeface="Verdana" pitchFamily="34" charset="0"/>
                </a:rPr>
                <a:t>4. ОТВЕТСТВЕННОСТЬ «ФГК» ЗА ПРЕДОСТАВЛЕНИЕ </a:t>
              </a:r>
              <a:r>
                <a:rPr lang="ru-RU" sz="1200" b="1" dirty="0">
                  <a:solidFill>
                    <a:prstClr val="black"/>
                  </a:solidFill>
                  <a:ea typeface="Verdana" pitchFamily="34" charset="0"/>
                  <a:cs typeface="Verdana" pitchFamily="34" charset="0"/>
                </a:rPr>
                <a:t> </a:t>
              </a:r>
              <a:r>
                <a:rPr lang="ru-RU" sz="1200" b="1" dirty="0" smtClean="0">
                  <a:solidFill>
                    <a:prstClr val="black"/>
                  </a:solidFill>
                  <a:ea typeface="Verdana" pitchFamily="34" charset="0"/>
                  <a:cs typeface="Verdana" pitchFamily="34" charset="0"/>
                </a:rPr>
                <a:t>  ВАГОНА – </a:t>
              </a:r>
              <a:r>
                <a:rPr lang="ru-RU" sz="1100" b="1" dirty="0" smtClean="0">
                  <a:solidFill>
                    <a:srgbClr val="C00000"/>
                  </a:solidFill>
                  <a:ea typeface="Verdana" pitchFamily="34" charset="0"/>
                  <a:cs typeface="Verdana" pitchFamily="34" charset="0"/>
                </a:rPr>
                <a:t>1 000 </a:t>
              </a:r>
              <a:r>
                <a:rPr lang="ru-RU" sz="1100" b="1" dirty="0" smtClean="0">
                  <a:solidFill>
                    <a:prstClr val="black"/>
                  </a:solidFill>
                  <a:ea typeface="Verdana" pitchFamily="34" charset="0"/>
                  <a:cs typeface="Verdana" pitchFamily="34" charset="0"/>
                </a:rPr>
                <a:t>рублей за вагон (неустойка)</a:t>
              </a:r>
              <a:endParaRPr lang="ru-RU" sz="1200" dirty="0">
                <a:solidFill>
                  <a:prstClr val="black"/>
                </a:solidFill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42" name="Прямоугольник 41"/>
            <p:cNvSpPr/>
            <p:nvPr/>
          </p:nvSpPr>
          <p:spPr>
            <a:xfrm>
              <a:off x="4245872" y="7224369"/>
              <a:ext cx="7238614" cy="90024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 defTabSz="1001480">
                <a:lnSpc>
                  <a:spcPts val="2100"/>
                </a:lnSpc>
              </a:pPr>
              <a:r>
                <a:rPr lang="ru-RU" sz="1200" b="1" dirty="0">
                  <a:solidFill>
                    <a:prstClr val="black"/>
                  </a:solidFill>
                  <a:ea typeface="Verdana" pitchFamily="34" charset="0"/>
                  <a:cs typeface="Verdana" pitchFamily="34" charset="0"/>
                </a:rPr>
                <a:t>1. ЛЕГКИЙ СПОСОБ ПОДАЧИ ЗАЯВКИ </a:t>
              </a:r>
              <a:r>
                <a:rPr lang="ru-RU" sz="1100" b="1" dirty="0" smtClean="0">
                  <a:solidFill>
                    <a:prstClr val="black"/>
                  </a:solidFill>
                  <a:ea typeface="Verdana" pitchFamily="34" charset="0"/>
                  <a:cs typeface="Verdana" pitchFamily="34" charset="0"/>
                </a:rPr>
                <a:t>– </a:t>
              </a:r>
              <a:r>
                <a:rPr lang="ru-RU" sz="1100" b="1" dirty="0">
                  <a:solidFill>
                    <a:prstClr val="black"/>
                  </a:solidFill>
                  <a:ea typeface="Verdana" pitchFamily="34" charset="0"/>
                  <a:cs typeface="Verdana" pitchFamily="34" charset="0"/>
                </a:rPr>
                <a:t>через </a:t>
              </a:r>
              <a:r>
                <a:rPr lang="ru-RU" sz="1100" b="1" dirty="0" smtClean="0">
                  <a:solidFill>
                    <a:prstClr val="black"/>
                  </a:solidFill>
                  <a:ea typeface="Verdana" pitchFamily="34" charset="0"/>
                  <a:cs typeface="Verdana" pitchFamily="34" charset="0"/>
                </a:rPr>
                <a:t>интернет-портал, круглосуточно, минимум формальностей, мгновенная автоматическая генерация счета на оплату. </a:t>
              </a:r>
              <a:endParaRPr lang="ru-RU" sz="1100" b="1" dirty="0">
                <a:solidFill>
                  <a:prstClr val="black"/>
                </a:solidFill>
                <a:ea typeface="Verdana" pitchFamily="34" charset="0"/>
                <a:cs typeface="Verdana" pitchFamily="34" charset="0"/>
              </a:endParaRPr>
            </a:p>
            <a:p>
              <a:pPr algn="just" defTabSz="1001480">
                <a:lnSpc>
                  <a:spcPts val="2100"/>
                </a:lnSpc>
              </a:pPr>
              <a:r>
                <a:rPr lang="ru-RU" sz="1100" b="1" dirty="0" smtClean="0">
                  <a:solidFill>
                    <a:prstClr val="black"/>
                  </a:solidFill>
                  <a:ea typeface="Verdana" pitchFamily="34" charset="0"/>
                  <a:cs typeface="Verdana" pitchFamily="34" charset="0"/>
                </a:rPr>
                <a:t> </a:t>
              </a:r>
              <a:endParaRPr lang="ru-RU" sz="1100" b="1" dirty="0">
                <a:solidFill>
                  <a:prstClr val="black"/>
                </a:solidFill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5214073" y="6494808"/>
              <a:ext cx="7056784" cy="36163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1001480">
                <a:lnSpc>
                  <a:spcPts val="2100"/>
                </a:lnSpc>
              </a:pPr>
              <a:r>
                <a:rPr lang="ru-RU" sz="1200" b="1" dirty="0" smtClean="0">
                  <a:solidFill>
                    <a:prstClr val="black"/>
                  </a:solidFill>
                  <a:ea typeface="Verdana" pitchFamily="34" charset="0"/>
                  <a:cs typeface="Verdana" pitchFamily="34" charset="0"/>
                </a:rPr>
                <a:t>3. </a:t>
              </a:r>
              <a:r>
                <a:rPr lang="ru-RU" sz="1200" b="1" dirty="0">
                  <a:solidFill>
                    <a:prstClr val="black"/>
                  </a:solidFill>
                  <a:ea typeface="Verdana" pitchFamily="34" charset="0"/>
                  <a:cs typeface="Verdana" pitchFamily="34" charset="0"/>
                </a:rPr>
                <a:t>ГАРАНТИЯ ПРЕДОСТАВЛЕНИЯ ВАГОНА </a:t>
              </a:r>
              <a:r>
                <a:rPr lang="ru-RU" sz="1200" b="1" dirty="0" smtClean="0">
                  <a:solidFill>
                    <a:prstClr val="black"/>
                  </a:solidFill>
                  <a:ea typeface="Verdana" pitchFamily="34" charset="0"/>
                  <a:cs typeface="Verdana" pitchFamily="34" charset="0"/>
                </a:rPr>
                <a:t> - </a:t>
              </a:r>
              <a:r>
                <a:rPr lang="ru-RU" sz="1100" b="1" dirty="0" smtClean="0">
                  <a:solidFill>
                    <a:srgbClr val="C00000"/>
                  </a:solidFill>
                  <a:ea typeface="Verdana" pitchFamily="34" charset="0"/>
                  <a:cs typeface="Verdana" pitchFamily="34" charset="0"/>
                </a:rPr>
                <a:t>10</a:t>
              </a:r>
              <a:r>
                <a:rPr lang="ru-RU" sz="1100" b="1" dirty="0" smtClean="0">
                  <a:solidFill>
                    <a:prstClr val="black"/>
                  </a:solidFill>
                  <a:ea typeface="Verdana" pitchFamily="34" charset="0"/>
                  <a:cs typeface="Verdana" pitchFamily="34" charset="0"/>
                </a:rPr>
                <a:t> суток от поступления оплаты</a:t>
              </a:r>
              <a:endParaRPr lang="ru-RU" sz="1100" b="1" dirty="0">
                <a:solidFill>
                  <a:prstClr val="black"/>
                </a:solidFill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44" name="Прямоугольник 43"/>
            <p:cNvSpPr/>
            <p:nvPr/>
          </p:nvSpPr>
          <p:spPr>
            <a:xfrm>
              <a:off x="4883430" y="6898126"/>
              <a:ext cx="7465122" cy="36163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1001480">
                <a:lnSpc>
                  <a:spcPts val="2100"/>
                </a:lnSpc>
              </a:pPr>
              <a:r>
                <a:rPr lang="ru-RU" sz="1200" b="1" dirty="0" smtClean="0">
                  <a:solidFill>
                    <a:prstClr val="black"/>
                  </a:solidFill>
                  <a:ea typeface="Verdana" pitchFamily="34" charset="0"/>
                  <a:cs typeface="Verdana" pitchFamily="34" charset="0"/>
                </a:rPr>
                <a:t>2. </a:t>
              </a:r>
              <a:r>
                <a:rPr lang="ru-RU" sz="1200" b="1" dirty="0">
                  <a:solidFill>
                    <a:prstClr val="black"/>
                  </a:solidFill>
                  <a:ea typeface="Verdana" pitchFamily="34" charset="0"/>
                  <a:cs typeface="Verdana" pitchFamily="34" charset="0"/>
                </a:rPr>
                <a:t>ПРОЗРАЧНОЕ </a:t>
              </a:r>
              <a:r>
                <a:rPr lang="ru-RU" sz="1200" b="1" dirty="0" smtClean="0">
                  <a:solidFill>
                    <a:prstClr val="black"/>
                  </a:solidFill>
                  <a:ea typeface="Verdana" pitchFamily="34" charset="0"/>
                  <a:cs typeface="Verdana" pitchFamily="34" charset="0"/>
                </a:rPr>
                <a:t>ЦЕНООБРАЗОВАНИЕ - </a:t>
              </a:r>
              <a:r>
                <a:rPr lang="ru-RU" sz="1100" b="1" dirty="0" smtClean="0">
                  <a:solidFill>
                    <a:prstClr val="black"/>
                  </a:solidFill>
                  <a:ea typeface="Verdana" pitchFamily="34" charset="0"/>
                  <a:cs typeface="Verdana" pitchFamily="34" charset="0"/>
                </a:rPr>
                <a:t>расчет </a:t>
              </a:r>
              <a:r>
                <a:rPr lang="ru-RU" sz="1100" b="1" dirty="0">
                  <a:solidFill>
                    <a:prstClr val="black"/>
                  </a:solidFill>
                  <a:ea typeface="Verdana" pitchFamily="34" charset="0"/>
                  <a:cs typeface="Verdana" pitchFamily="34" charset="0"/>
                </a:rPr>
                <a:t>ставки </a:t>
              </a:r>
              <a:r>
                <a:rPr lang="ru-RU" sz="1100" b="1" dirty="0" smtClean="0">
                  <a:solidFill>
                    <a:prstClr val="black"/>
                  </a:solidFill>
                  <a:ea typeface="Verdana" pitchFamily="34" charset="0"/>
                  <a:cs typeface="Verdana" pitchFamily="34" charset="0"/>
                </a:rPr>
                <a:t>на</a:t>
              </a:r>
              <a:r>
                <a:rPr lang="en-US" sz="1100" b="1" dirty="0" smtClean="0">
                  <a:solidFill>
                    <a:prstClr val="black"/>
                  </a:solidFill>
                  <a:ea typeface="Verdana" pitchFamily="34" charset="0"/>
                  <a:cs typeface="Verdana" pitchFamily="34" charset="0"/>
                </a:rPr>
                <a:t> </a:t>
              </a:r>
              <a:r>
                <a:rPr lang="ru-RU" sz="1100" b="1" dirty="0" smtClean="0">
                  <a:solidFill>
                    <a:prstClr val="black"/>
                  </a:solidFill>
                  <a:ea typeface="Verdana" pitchFamily="34" charset="0"/>
                  <a:cs typeface="Verdana" pitchFamily="34" charset="0"/>
                </a:rPr>
                <a:t>сайте </a:t>
              </a:r>
              <a:r>
                <a:rPr lang="ru-RU" sz="1100" b="1" dirty="0">
                  <a:solidFill>
                    <a:prstClr val="black"/>
                  </a:solidFill>
                  <a:ea typeface="Verdana" pitchFamily="34" charset="0"/>
                  <a:cs typeface="Verdana" pitchFamily="34" charset="0"/>
                </a:rPr>
                <a:t>«ФГК</a:t>
              </a:r>
              <a:r>
                <a:rPr lang="ru-RU" sz="1100" b="1" dirty="0" smtClean="0">
                  <a:solidFill>
                    <a:prstClr val="black"/>
                  </a:solidFill>
                  <a:ea typeface="Verdana" pitchFamily="34" charset="0"/>
                  <a:cs typeface="Verdana" pitchFamily="34" charset="0"/>
                </a:rPr>
                <a:t>»</a:t>
              </a:r>
              <a:endParaRPr lang="ru-RU" sz="600" b="1" dirty="0">
                <a:solidFill>
                  <a:prstClr val="white"/>
                </a:solidFill>
                <a:ea typeface="Verdana" pitchFamily="34" charset="0"/>
                <a:cs typeface="Verdana" pitchFamily="34" charset="0"/>
              </a:endParaRPr>
            </a:p>
          </p:txBody>
        </p:sp>
      </p:grpSp>
      <p:cxnSp>
        <p:nvCxnSpPr>
          <p:cNvPr id="10" name="Прямая соединительная линия 9"/>
          <p:cNvCxnSpPr/>
          <p:nvPr/>
        </p:nvCxnSpPr>
        <p:spPr>
          <a:xfrm>
            <a:off x="602444" y="3917654"/>
            <a:ext cx="9301394" cy="0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>
          <a:xfrm>
            <a:off x="5965886" y="1379274"/>
            <a:ext cx="34563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01480"/>
            <a:r>
              <a:rPr lang="ru-RU" sz="1400" b="1" dirty="0">
                <a:solidFill>
                  <a:srgbClr val="0070C0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СЕГМЕНТ КРЫТЫХ ВАГОНОВ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5981029" y="2898631"/>
            <a:ext cx="26642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01480"/>
            <a:r>
              <a:rPr lang="ru-RU" sz="1400" b="1" dirty="0">
                <a:solidFill>
                  <a:srgbClr val="0070C0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СЕГМЕНТ ПЛАТФОРМ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229836" y="996944"/>
            <a:ext cx="4422973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001480"/>
            <a:r>
              <a:rPr lang="ru-RU" sz="1600" b="1" dirty="0" smtClean="0">
                <a:solidFill>
                  <a:prstClr val="black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В целях гарантированного обеспечения грузоотправителей подвижным составом в условиях отсутствия вагонов у перевозчика, ОАО «ФГК» с 2012 года оказывает услуги на основе </a:t>
            </a:r>
          </a:p>
          <a:p>
            <a:pPr algn="ctr" defTabSz="1001480"/>
            <a:r>
              <a:rPr lang="ru-RU" sz="1600" b="1" dirty="0" smtClean="0">
                <a:solidFill>
                  <a:srgbClr val="C00000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 ПУБЛИЧНОЙ ОФЕРТЫ</a:t>
            </a:r>
            <a:endParaRPr lang="ru-RU" sz="1600" b="1" dirty="0">
              <a:solidFill>
                <a:srgbClr val="C00000"/>
              </a:solidFill>
              <a:latin typeface="Arial" pitchFamily="34" charset="0"/>
              <a:ea typeface="ＭＳ Ｐゴシック" charset="-128"/>
              <a:cs typeface="Arial" pitchFamily="34" charset="0"/>
            </a:endParaRPr>
          </a:p>
        </p:txBody>
      </p:sp>
      <p:pic>
        <p:nvPicPr>
          <p:cNvPr id="49" name="Picture 4" descr="http://pgkweb.ru/Attachment.aspx?Id=1681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1750" y="1595298"/>
            <a:ext cx="1107495" cy="518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6" descr="http://pgkweb.ru/Attachment.aspx?Id=168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1751" y="3192298"/>
            <a:ext cx="1147538" cy="390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5998543" y="1606611"/>
            <a:ext cx="266541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 defTabSz="1001480"/>
            <a:r>
              <a:rPr lang="ru-RU" sz="1400" b="1" dirty="0" smtClean="0">
                <a:solidFill>
                  <a:prstClr val="black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Услуга предоставляется на </a:t>
            </a:r>
          </a:p>
          <a:p>
            <a:pPr algn="just" defTabSz="1001480"/>
            <a:r>
              <a:rPr lang="ru-RU" sz="1400" b="1" dirty="0" smtClean="0">
                <a:solidFill>
                  <a:prstClr val="black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всей сети железных дорог </a:t>
            </a:r>
            <a:endParaRPr lang="ru-RU" sz="1400" dirty="0">
              <a:solidFill>
                <a:prstClr val="black"/>
              </a:solidFill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5974104" y="3116173"/>
            <a:ext cx="375929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01480"/>
            <a:r>
              <a:rPr lang="ru-RU" sz="1400" b="1" dirty="0" smtClean="0">
                <a:solidFill>
                  <a:prstClr val="black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Услуга оказывается с октября 2013 года</a:t>
            </a:r>
            <a:endParaRPr lang="ru-RU" sz="1050" dirty="0">
              <a:solidFill>
                <a:prstClr val="black"/>
              </a:solidFill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4565080" y="3959986"/>
            <a:ext cx="4775404" cy="584775"/>
          </a:xfrm>
          <a:prstGeom prst="rect">
            <a:avLst/>
          </a:prstGeom>
          <a:solidFill>
            <a:srgbClr val="0066CC">
              <a:alpha val="70000"/>
            </a:srgbClr>
          </a:solidFill>
        </p:spPr>
        <p:txBody>
          <a:bodyPr wrap="square">
            <a:spAutoFit/>
          </a:bodyPr>
          <a:lstStyle/>
          <a:p>
            <a:pPr algn="ctr" defTabSz="1001480"/>
            <a:r>
              <a:rPr lang="ru-RU" sz="1600" b="1" dirty="0">
                <a:solidFill>
                  <a:prstClr val="white"/>
                </a:solidFill>
                <a:ea typeface="Verdana" pitchFamily="34" charset="0"/>
                <a:cs typeface="Verdana" pitchFamily="34" charset="0"/>
              </a:rPr>
              <a:t>ПРЕИМУЩЕСТВА ОФЕРТЫ «ФГК» </a:t>
            </a:r>
            <a:endParaRPr lang="ru-RU" sz="1600" b="1" dirty="0" smtClean="0">
              <a:solidFill>
                <a:prstClr val="white"/>
              </a:solidFill>
              <a:ea typeface="Verdana" pitchFamily="34" charset="0"/>
              <a:cs typeface="Verdana" pitchFamily="34" charset="0"/>
            </a:endParaRPr>
          </a:p>
          <a:p>
            <a:pPr algn="ctr" defTabSz="1001480"/>
            <a:r>
              <a:rPr lang="ru-RU" sz="1600" b="1" dirty="0" smtClean="0">
                <a:solidFill>
                  <a:prstClr val="white"/>
                </a:solidFill>
                <a:ea typeface="Verdana" pitchFamily="34" charset="0"/>
                <a:cs typeface="Verdana" pitchFamily="34" charset="0"/>
              </a:rPr>
              <a:t>ДЛЯ </a:t>
            </a:r>
            <a:r>
              <a:rPr lang="ru-RU" sz="1600" b="1" dirty="0">
                <a:solidFill>
                  <a:prstClr val="white"/>
                </a:solidFill>
                <a:ea typeface="Verdana" pitchFamily="34" charset="0"/>
                <a:cs typeface="Verdana" pitchFamily="34" charset="0"/>
              </a:rPr>
              <a:t>ГРУЗООТПРАВИТЕЛЕЙ: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5986790" y="2244981"/>
            <a:ext cx="34563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01480"/>
            <a:r>
              <a:rPr lang="ru-RU" sz="1400" b="1" dirty="0">
                <a:solidFill>
                  <a:srgbClr val="0070C0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СЕГМЕНТ </a:t>
            </a:r>
            <a:r>
              <a:rPr lang="ru-RU" sz="1400" b="1" dirty="0" smtClean="0">
                <a:solidFill>
                  <a:srgbClr val="0070C0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ПОЛУВАГОНОВ</a:t>
            </a:r>
            <a:endParaRPr lang="ru-RU" sz="1400" b="1" dirty="0">
              <a:solidFill>
                <a:srgbClr val="0070C0"/>
              </a:solidFill>
              <a:latin typeface="Arial" pitchFamily="34" charset="0"/>
              <a:ea typeface="ＭＳ Ｐゴシック" charset="-128"/>
              <a:cs typeface="Arial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5972729" y="2462389"/>
            <a:ext cx="338099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01480"/>
            <a:r>
              <a:rPr lang="ru-RU" sz="1400" b="1" dirty="0" smtClean="0">
                <a:solidFill>
                  <a:prstClr val="black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Услуга оказывается с мая 2013 года</a:t>
            </a:r>
          </a:p>
        </p:txBody>
      </p:sp>
      <p:pic>
        <p:nvPicPr>
          <p:cNvPr id="1026" name="Picture 2" descr="C:\Users\GruzdevaOV\Desktop\полувпагон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2727" y="2414258"/>
            <a:ext cx="1107496" cy="5198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9802284" y="6704968"/>
            <a:ext cx="711083" cy="477626"/>
          </a:xfrm>
        </p:spPr>
        <p:txBody>
          <a:bodyPr/>
          <a:lstStyle/>
          <a:p>
            <a:r>
              <a:rPr lang="ru-RU" smtClean="0">
                <a:solidFill>
                  <a:srgbClr val="696464"/>
                </a:solidFill>
              </a:rPr>
              <a:t>7</a:t>
            </a:r>
            <a:endParaRPr lang="en-US" dirty="0">
              <a:solidFill>
                <a:srgbClr val="696464"/>
              </a:solidFill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24685" y="20302"/>
            <a:ext cx="818442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ru-RU" sz="1600" b="1" dirty="0" smtClean="0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Повышение   технологической   доступности   услуги по   предоставлению   подвижного   состава   ОАО «ФГК»</a:t>
            </a:r>
            <a:endParaRPr lang="ru-RU" sz="1600" b="1" dirty="0">
              <a:solidFill>
                <a:prstClr val="black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32247" y="3008451"/>
            <a:ext cx="413283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/>
              <a:t>147</a:t>
            </a:r>
            <a:r>
              <a:rPr lang="ru-RU" sz="1400" dirty="0" smtClean="0"/>
              <a:t> клиентов работают с ОАО «ФГК» через публичную оферту.</a:t>
            </a:r>
            <a:endParaRPr lang="ru-RU" sz="1400" dirty="0"/>
          </a:p>
        </p:txBody>
      </p:sp>
      <p:sp>
        <p:nvSpPr>
          <p:cNvPr id="5" name="TextBox 4"/>
          <p:cNvSpPr txBox="1"/>
          <p:nvPr/>
        </p:nvSpPr>
        <p:spPr>
          <a:xfrm>
            <a:off x="94597" y="6902778"/>
            <a:ext cx="91106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 smtClean="0"/>
              <a:t>Услуга рассчитана на пользователей, отгружающих до 50 вагонов (по каждому РПС) в месяц</a:t>
            </a:r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112816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Стрелка вниз 48"/>
          <p:cNvSpPr/>
          <p:nvPr/>
        </p:nvSpPr>
        <p:spPr>
          <a:xfrm>
            <a:off x="2088431" y="3150146"/>
            <a:ext cx="5976664" cy="1728192"/>
          </a:xfrm>
          <a:prstGeom prst="downArrow">
            <a:avLst>
              <a:gd name="adj1" fmla="val 87611"/>
              <a:gd name="adj2" fmla="val 50000"/>
            </a:avLst>
          </a:prstGeom>
          <a:solidFill>
            <a:schemeClr val="bg1">
              <a:lumMod val="85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b="1" dirty="0" smtClean="0"/>
              <a:t>СИОК – Система информационного обслуживания клиентов </a:t>
            </a:r>
            <a:endParaRPr lang="ru-RU" sz="1800" b="1" dirty="0"/>
          </a:p>
        </p:txBody>
      </p:sp>
      <p:sp>
        <p:nvSpPr>
          <p:cNvPr id="45" name="Стрелка вниз 44"/>
          <p:cNvSpPr/>
          <p:nvPr/>
        </p:nvSpPr>
        <p:spPr>
          <a:xfrm>
            <a:off x="98425" y="1107788"/>
            <a:ext cx="10198918" cy="2470050"/>
          </a:xfrm>
          <a:prstGeom prst="downArrow">
            <a:avLst>
              <a:gd name="adj1" fmla="val 95949"/>
              <a:gd name="adj2" fmla="val 27148"/>
            </a:avLst>
          </a:prstGeom>
          <a:solidFill>
            <a:schemeClr val="bg1">
              <a:lumMod val="85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>
              <a:solidFill>
                <a:prstClr val="white"/>
              </a:solidFill>
            </a:endParaRPr>
          </a:p>
        </p:txBody>
      </p:sp>
      <p:pic>
        <p:nvPicPr>
          <p:cNvPr id="1037" name="Picture 13" descr="http://im7-tub-ru.yandex.net/i?id=74939740-30-72&amp;n=21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239" y="1205930"/>
            <a:ext cx="1543050" cy="1428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TextBox 43"/>
          <p:cNvSpPr txBox="1"/>
          <p:nvPr/>
        </p:nvSpPr>
        <p:spPr>
          <a:xfrm>
            <a:off x="1929308" y="1107788"/>
            <a:ext cx="815201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rgbClr val="FF0000"/>
                </a:solidFill>
              </a:rPr>
              <a:t>СИОК – это удобно: </a:t>
            </a:r>
          </a:p>
          <a:p>
            <a:pPr marL="285750" indent="-285750" fontAlgn="base">
              <a:buClr>
                <a:srgbClr val="C00000"/>
              </a:buClr>
              <a:buSzPct val="100000"/>
              <a:buFont typeface="Wingdings" pitchFamily="2" charset="2"/>
              <a:buChar char="§"/>
            </a:pPr>
            <a:endParaRPr lang="ru-RU" sz="1600" dirty="0" smtClean="0">
              <a:solidFill>
                <a:srgbClr val="000000"/>
              </a:solidFill>
              <a:cs typeface="Arial" pitchFamily="34" charset="0"/>
            </a:endParaRPr>
          </a:p>
          <a:p>
            <a:pPr marL="285750" indent="-285750" fontAlgn="base">
              <a:buClr>
                <a:srgbClr val="C00000"/>
              </a:buClr>
              <a:buSzPct val="100000"/>
              <a:buFont typeface="Wingdings" pitchFamily="2" charset="2"/>
              <a:buChar char="§"/>
            </a:pPr>
            <a:r>
              <a:rPr lang="ru-RU" sz="1600" dirty="0" smtClean="0">
                <a:solidFill>
                  <a:srgbClr val="000000"/>
                </a:solidFill>
                <a:cs typeface="Arial" pitchFamily="34" charset="0"/>
              </a:rPr>
              <a:t>Дислокация вагонов в режиме реального времени;</a:t>
            </a:r>
            <a:endParaRPr lang="ru-RU" sz="1600" dirty="0">
              <a:solidFill>
                <a:srgbClr val="000000"/>
              </a:solidFill>
              <a:cs typeface="Arial" pitchFamily="34" charset="0"/>
            </a:endParaRPr>
          </a:p>
          <a:p>
            <a:pPr marL="285750" indent="-285750" fontAlgn="base">
              <a:buClr>
                <a:srgbClr val="C00000"/>
              </a:buClr>
              <a:buSzPct val="100000"/>
              <a:buFont typeface="Wingdings" pitchFamily="2" charset="2"/>
              <a:buChar char="§"/>
            </a:pPr>
            <a:r>
              <a:rPr lang="ru-RU" sz="1600" dirty="0" smtClean="0">
                <a:solidFill>
                  <a:srgbClr val="000000"/>
                </a:solidFill>
                <a:cs typeface="Arial" pitchFamily="34" charset="0"/>
              </a:rPr>
              <a:t>Автоматическое </a:t>
            </a:r>
            <a:r>
              <a:rPr lang="ru-RU" sz="1600" dirty="0">
                <a:solidFill>
                  <a:srgbClr val="000000"/>
                </a:solidFill>
                <a:cs typeface="Arial" pitchFamily="34" charset="0"/>
              </a:rPr>
              <a:t>информирование о балансе средств на </a:t>
            </a:r>
            <a:r>
              <a:rPr lang="ru-RU" sz="1600" dirty="0" smtClean="0">
                <a:solidFill>
                  <a:srgbClr val="000000"/>
                </a:solidFill>
                <a:cs typeface="Arial" pitchFamily="34" charset="0"/>
              </a:rPr>
              <a:t>счете;</a:t>
            </a:r>
            <a:endParaRPr lang="ru-RU" sz="1600" dirty="0">
              <a:solidFill>
                <a:srgbClr val="000000"/>
              </a:solidFill>
              <a:cs typeface="Arial" pitchFamily="34" charset="0"/>
            </a:endParaRPr>
          </a:p>
          <a:p>
            <a:pPr marL="285750" indent="-285750" fontAlgn="base">
              <a:buClr>
                <a:srgbClr val="C00000"/>
              </a:buClr>
              <a:buSzPct val="100000"/>
              <a:buFont typeface="Wingdings" pitchFamily="2" charset="2"/>
              <a:buChar char="§"/>
            </a:pPr>
            <a:r>
              <a:rPr lang="ru-RU" sz="1600" dirty="0" smtClean="0">
                <a:solidFill>
                  <a:srgbClr val="000000"/>
                </a:solidFill>
                <a:cs typeface="Arial" pitchFamily="34" charset="0"/>
              </a:rPr>
              <a:t>Детализация </a:t>
            </a:r>
            <a:r>
              <a:rPr lang="ru-RU" sz="1600" dirty="0">
                <a:solidFill>
                  <a:srgbClr val="000000"/>
                </a:solidFill>
                <a:cs typeface="Arial" pitchFamily="34" charset="0"/>
              </a:rPr>
              <a:t>взаиморасчетов по </a:t>
            </a:r>
            <a:r>
              <a:rPr lang="ru-RU" sz="1600" dirty="0" smtClean="0">
                <a:solidFill>
                  <a:srgbClr val="000000"/>
                </a:solidFill>
                <a:cs typeface="Arial" pitchFamily="34" charset="0"/>
              </a:rPr>
              <a:t>договору;</a:t>
            </a:r>
            <a:endParaRPr lang="ru-RU" sz="1600" dirty="0">
              <a:solidFill>
                <a:srgbClr val="000000"/>
              </a:solidFill>
              <a:cs typeface="Arial" pitchFamily="34" charset="0"/>
            </a:endParaRPr>
          </a:p>
          <a:p>
            <a:pPr marL="285750" indent="-285750" fontAlgn="base">
              <a:buClr>
                <a:srgbClr val="C00000"/>
              </a:buClr>
              <a:buSzPct val="100000"/>
              <a:buFont typeface="Wingdings" pitchFamily="2" charset="2"/>
              <a:buChar char="§"/>
            </a:pPr>
            <a:r>
              <a:rPr lang="ru-RU" sz="1600" dirty="0" smtClean="0">
                <a:solidFill>
                  <a:srgbClr val="000000"/>
                </a:solidFill>
                <a:cs typeface="Arial" pitchFamily="34" charset="0"/>
              </a:rPr>
              <a:t>Подача </a:t>
            </a:r>
            <a:r>
              <a:rPr lang="ru-RU" sz="1600" dirty="0">
                <a:solidFill>
                  <a:srgbClr val="000000"/>
                </a:solidFill>
                <a:cs typeface="Arial" pitchFamily="34" charset="0"/>
              </a:rPr>
              <a:t>претензий и отслеживание статуса претензионной </a:t>
            </a:r>
            <a:r>
              <a:rPr lang="ru-RU" sz="1600" dirty="0" smtClean="0">
                <a:solidFill>
                  <a:srgbClr val="000000"/>
                </a:solidFill>
                <a:cs typeface="Arial" pitchFamily="34" charset="0"/>
              </a:rPr>
              <a:t>работы</a:t>
            </a:r>
            <a:endParaRPr lang="ru-RU" sz="16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2448471" y="3644620"/>
            <a:ext cx="525658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prstClr val="black"/>
                </a:solidFill>
              </a:rPr>
              <a:t>663 </a:t>
            </a:r>
            <a:r>
              <a:rPr lang="ru-RU" sz="1400" dirty="0" smtClean="0">
                <a:solidFill>
                  <a:prstClr val="black"/>
                </a:solidFill>
              </a:rPr>
              <a:t>из</a:t>
            </a:r>
            <a:r>
              <a:rPr lang="ru-RU" sz="1400" b="1" dirty="0" smtClean="0">
                <a:solidFill>
                  <a:prstClr val="black"/>
                </a:solidFill>
              </a:rPr>
              <a:t> 1 574 </a:t>
            </a:r>
            <a:r>
              <a:rPr lang="ru-RU" sz="1400" dirty="0">
                <a:solidFill>
                  <a:prstClr val="black"/>
                </a:solidFill>
              </a:rPr>
              <a:t>клиентов ОАО «ФГК» пользуются </a:t>
            </a:r>
            <a:r>
              <a:rPr lang="ru-RU" sz="1400" dirty="0" smtClean="0">
                <a:solidFill>
                  <a:prstClr val="black"/>
                </a:solidFill>
              </a:rPr>
              <a:t>услугой, в том числе </a:t>
            </a:r>
            <a:r>
              <a:rPr lang="ru-RU" sz="1400" b="1" dirty="0" smtClean="0">
                <a:solidFill>
                  <a:prstClr val="black"/>
                </a:solidFill>
              </a:rPr>
              <a:t>40</a:t>
            </a:r>
            <a:r>
              <a:rPr lang="ru-RU" sz="1400" dirty="0" smtClean="0">
                <a:solidFill>
                  <a:prstClr val="black"/>
                </a:solidFill>
              </a:rPr>
              <a:t> клиентов Хабаровского филиала 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1368351" y="5022353"/>
            <a:ext cx="7488832" cy="1878017"/>
          </a:xfrm>
          <a:prstGeom prst="rect">
            <a:avLst/>
          </a:prstGeom>
          <a:solidFill>
            <a:schemeClr val="bg1">
              <a:lumMod val="85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368351" y="5238378"/>
            <a:ext cx="7272808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>
                <a:solidFill>
                  <a:prstClr val="black"/>
                </a:solidFill>
              </a:rPr>
              <a:t>Для подключения к СИОК нужно просто </a:t>
            </a:r>
            <a:r>
              <a:rPr lang="ru-RU" sz="1600" b="1" dirty="0" smtClean="0">
                <a:solidFill>
                  <a:prstClr val="black"/>
                </a:solidFill>
              </a:rPr>
              <a:t>отправить запрос в произвольной форме Вашему менеджеру</a:t>
            </a:r>
            <a:r>
              <a:rPr lang="ru-RU" sz="1600" dirty="0" smtClean="0">
                <a:solidFill>
                  <a:prstClr val="black"/>
                </a:solidFill>
              </a:rPr>
              <a:t> ОАО «ФГК» и в течении 24 часов Вы получите доступ. </a:t>
            </a:r>
          </a:p>
          <a:p>
            <a:pPr algn="ctr"/>
            <a:endParaRPr lang="ru-RU" sz="2000" b="1" dirty="0" smtClean="0">
              <a:solidFill>
                <a:srgbClr val="FF0000"/>
              </a:solidFill>
            </a:endParaRPr>
          </a:p>
          <a:p>
            <a:pPr algn="ctr"/>
            <a:r>
              <a:rPr lang="ru-RU" sz="1600" b="1" dirty="0" smtClean="0">
                <a:solidFill>
                  <a:srgbClr val="FF0000"/>
                </a:solidFill>
              </a:rPr>
              <a:t>Услуга бесплатна.</a:t>
            </a:r>
            <a:endParaRPr lang="ru-RU" sz="16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8298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ts val="2191"/>
              </a:lnSpc>
              <a:defRPr/>
            </a:pPr>
            <a:r>
              <a:rPr lang="ru-RU" b="1" dirty="0"/>
              <a:t>Грузовая работа ОАО «ФГК» </a:t>
            </a:r>
            <a:r>
              <a:rPr lang="ru-RU" b="1" dirty="0" smtClean="0"/>
              <a:t>                                    на Дальневосточной </a:t>
            </a:r>
            <a:r>
              <a:rPr lang="ru-RU" b="1" dirty="0" err="1" smtClean="0"/>
              <a:t>ж.д</a:t>
            </a:r>
            <a:r>
              <a:rPr lang="ru-RU" b="1" dirty="0" smtClean="0"/>
              <a:t>. в </a:t>
            </a:r>
            <a:r>
              <a:rPr lang="ru-RU" b="1" dirty="0"/>
              <a:t>2014 г. </a:t>
            </a:r>
            <a:br>
              <a:rPr lang="ru-RU" b="1" dirty="0"/>
            </a:br>
            <a:endParaRPr lang="ru-RU" dirty="0"/>
          </a:p>
        </p:txBody>
      </p:sp>
      <p:graphicFrame>
        <p:nvGraphicFramePr>
          <p:cNvPr id="6" name="Диаграмма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03976111"/>
              </p:ext>
            </p:extLst>
          </p:nvPr>
        </p:nvGraphicFramePr>
        <p:xfrm>
          <a:off x="288231" y="4086250"/>
          <a:ext cx="6804756" cy="22391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Диаграмма 3"/>
          <p:cNvGraphicFramePr/>
          <p:nvPr>
            <p:extLst>
              <p:ext uri="{D42A27DB-BD31-4B8C-83A1-F6EECF244321}">
                <p14:modId xmlns:p14="http://schemas.microsoft.com/office/powerpoint/2010/main" val="2649217871"/>
              </p:ext>
            </p:extLst>
          </p:nvPr>
        </p:nvGraphicFramePr>
        <p:xfrm>
          <a:off x="1728258" y="1277849"/>
          <a:ext cx="6913033" cy="46086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8895815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TStCQGA0GnUDwljVE8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TStCQGA0GnUDwljVE8i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TStCQGA0GnUDwljVE8iQ"/>
</p:tagLst>
</file>

<file path=ppt/theme/theme1.xml><?xml version="1.0" encoding="utf-8"?>
<a:theme xmlns:a="http://schemas.openxmlformats.org/drawingml/2006/main" name="Шаблон_ФГК_16-9_эксперимент">
  <a:themeElements>
    <a:clrScheme name="RZD">
      <a:dk1>
        <a:sysClr val="windowText" lastClr="000000"/>
      </a:dk1>
      <a:lt1>
        <a:sysClr val="window" lastClr="FFFFFF"/>
      </a:lt1>
      <a:dk2>
        <a:srgbClr val="455D70"/>
      </a:dk2>
      <a:lt2>
        <a:srgbClr val="EEECE1"/>
      </a:lt2>
      <a:accent1>
        <a:srgbClr val="455D70"/>
      </a:accent1>
      <a:accent2>
        <a:srgbClr val="68798B"/>
      </a:accent2>
      <a:accent3>
        <a:srgbClr val="909CAA"/>
      </a:accent3>
      <a:accent4>
        <a:srgbClr val="A3A86B"/>
      </a:accent4>
      <a:accent5>
        <a:srgbClr val="D3D7BD"/>
      </a:accent5>
      <a:accent6>
        <a:srgbClr val="0066A1"/>
      </a:accent6>
      <a:hlink>
        <a:srgbClr val="455D70"/>
      </a:hlink>
      <a:folHlink>
        <a:srgbClr val="909CAA"/>
      </a:folHlink>
    </a:clrScheme>
    <a:fontScheme name="Аспект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ВГК">
  <a:themeElements>
    <a:clrScheme name="RZD">
      <a:dk1>
        <a:sysClr val="windowText" lastClr="000000"/>
      </a:dk1>
      <a:lt1>
        <a:sysClr val="window" lastClr="FFFFFF"/>
      </a:lt1>
      <a:dk2>
        <a:srgbClr val="455D70"/>
      </a:dk2>
      <a:lt2>
        <a:srgbClr val="EEECE1"/>
      </a:lt2>
      <a:accent1>
        <a:srgbClr val="455D70"/>
      </a:accent1>
      <a:accent2>
        <a:srgbClr val="68798B"/>
      </a:accent2>
      <a:accent3>
        <a:srgbClr val="909CAA"/>
      </a:accent3>
      <a:accent4>
        <a:srgbClr val="A3A86B"/>
      </a:accent4>
      <a:accent5>
        <a:srgbClr val="D3D7BD"/>
      </a:accent5>
      <a:accent6>
        <a:srgbClr val="0066A1"/>
      </a:accent6>
      <a:hlink>
        <a:srgbClr val="455D70"/>
      </a:hlink>
      <a:folHlink>
        <a:srgbClr val="909CAA"/>
      </a:folHlink>
    </a:clrScheme>
    <a:fontScheme name="Аспект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Шаблон_ФГК_16-9_эксперимент">
  <a:themeElements>
    <a:clrScheme name="RZD">
      <a:dk1>
        <a:sysClr val="windowText" lastClr="000000"/>
      </a:dk1>
      <a:lt1>
        <a:sysClr val="window" lastClr="FFFFFF"/>
      </a:lt1>
      <a:dk2>
        <a:srgbClr val="455D70"/>
      </a:dk2>
      <a:lt2>
        <a:srgbClr val="EEECE1"/>
      </a:lt2>
      <a:accent1>
        <a:srgbClr val="455D70"/>
      </a:accent1>
      <a:accent2>
        <a:srgbClr val="68798B"/>
      </a:accent2>
      <a:accent3>
        <a:srgbClr val="909CAA"/>
      </a:accent3>
      <a:accent4>
        <a:srgbClr val="A3A86B"/>
      </a:accent4>
      <a:accent5>
        <a:srgbClr val="D3D7BD"/>
      </a:accent5>
      <a:accent6>
        <a:srgbClr val="0066A1"/>
      </a:accent6>
      <a:hlink>
        <a:srgbClr val="455D70"/>
      </a:hlink>
      <a:folHlink>
        <a:srgbClr val="909CAA"/>
      </a:folHlink>
    </a:clrScheme>
    <a:fontScheme name="Аспект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Апекс">
      <a:fillStyleLst>
        <a:solidFill>
          <a:schemeClr val="phClr"/>
        </a:solidFill>
        <a:gradFill rotWithShape="1">
          <a:gsLst>
            <a:gs pos="20000">
              <a:schemeClr val="phClr">
                <a:tint val="9000"/>
              </a:schemeClr>
            </a:gs>
            <a:gs pos="100000">
              <a:schemeClr val="phClr">
                <a:tint val="70000"/>
                <a:satMod val="100000"/>
              </a:schemeClr>
            </a:gs>
          </a:gsLst>
          <a:path path="circle">
            <a:fillToRect l="-15000" t="-15000" r="115000" b="115000"/>
          </a:path>
        </a:gradFill>
        <a:gradFill rotWithShape="1">
          <a:gsLst>
            <a:gs pos="0">
              <a:schemeClr val="phClr">
                <a:shade val="60000"/>
              </a:schemeClr>
            </a:gs>
            <a:gs pos="33000">
              <a:schemeClr val="phClr">
                <a:tint val="86500"/>
              </a:schemeClr>
            </a:gs>
            <a:gs pos="46750">
              <a:schemeClr val="phClr">
                <a:tint val="71000"/>
                <a:satMod val="112000"/>
              </a:schemeClr>
            </a:gs>
            <a:gs pos="53000">
              <a:schemeClr val="phClr">
                <a:tint val="71000"/>
                <a:satMod val="112000"/>
              </a:schemeClr>
            </a:gs>
            <a:gs pos="68000">
              <a:schemeClr val="phClr">
                <a:tint val="86000"/>
              </a:schemeClr>
            </a:gs>
            <a:gs pos="100000">
              <a:schemeClr val="phClr">
                <a:shade val="60000"/>
              </a:schemeClr>
            </a:gs>
          </a:gsLst>
          <a:lin ang="8350000" scaled="1"/>
        </a:gradFill>
      </a:fillStyleLst>
      <a:lnStyleLst>
        <a:ln w="9525" cap="flat" cmpd="sng" algn="ctr">
          <a:solidFill>
            <a:schemeClr val="phClr">
              <a:shade val="48000"/>
              <a:satMod val="11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130000" dist="101600" dir="2700000" algn="tl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100000"/>
            </a:lightRig>
          </a:scene3d>
          <a:sp3d>
            <a:bevelT w="508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37EC6D307296894FB09261CF3B4EBFBC" ma:contentTypeVersion="0" ma:contentTypeDescription="Создание документа." ma:contentTypeScope="" ma:versionID="9e9d8c4551a1f0318f166c1c2178234c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89d58f4857a619b7c345529988bca39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518B135-A998-46B6-9A62-143C45BDA372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purl.org/dc/elements/1.1/"/>
    <ds:schemaRef ds:uri="http://schemas.microsoft.com/office/infopath/2007/PartnerControls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2245C03F-4308-4821-BCEE-3A922344466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C12D6BFB-8CF3-42BE-825C-B41E1200A08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Шаблон_ФГК_16-9_эксперимент</Template>
  <TotalTime>5655</TotalTime>
  <Words>862</Words>
  <Application>Microsoft Office PowerPoint</Application>
  <PresentationFormat>Произвольный</PresentationFormat>
  <Paragraphs>148</Paragraphs>
  <Slides>13</Slides>
  <Notes>3</Notes>
  <HiddenSlides>0</HiddenSlides>
  <MMClips>0</MMClips>
  <ScaleCrop>false</ScaleCrop>
  <HeadingPairs>
    <vt:vector size="4" baseType="variant">
      <vt:variant>
        <vt:lpstr>Тема</vt:lpstr>
      </vt:variant>
      <vt:variant>
        <vt:i4>3</vt:i4>
      </vt:variant>
      <vt:variant>
        <vt:lpstr>Заголовки слайдов</vt:lpstr>
      </vt:variant>
      <vt:variant>
        <vt:i4>13</vt:i4>
      </vt:variant>
    </vt:vector>
  </HeadingPairs>
  <TitlesOfParts>
    <vt:vector size="16" baseType="lpstr">
      <vt:lpstr>Шаблон_ФГК_16-9_эксперимент</vt:lpstr>
      <vt:lpstr>ВГК</vt:lpstr>
      <vt:lpstr>1_Шаблон_ФГК_16-9_эксперимент</vt:lpstr>
      <vt:lpstr> ОАО «Федеральная грузовая компания» - три года на операторском рынке</vt:lpstr>
      <vt:lpstr>Презентация PowerPoint</vt:lpstr>
      <vt:lpstr>ОАО «ФГК» крупнейший в России оператор универсального подвижного состава</vt:lpstr>
      <vt:lpstr>География присутствия ОАО «ФГК»</vt:lpstr>
      <vt:lpstr>Клиентами ОАО «ФГК» являются практически все крупнейшие грузоотправители</vt:lpstr>
      <vt:lpstr>Одна из ключевых задач ОАО «ФГК» - обновление и модернизация парка вагонов </vt:lpstr>
      <vt:lpstr>Презентация PowerPoint</vt:lpstr>
      <vt:lpstr>СИОК – Система информационного обслуживания клиентов </vt:lpstr>
      <vt:lpstr>Грузовая работа ОАО «ФГК»                                     на Дальневосточной ж.д. в 2014 г.  </vt:lpstr>
      <vt:lpstr>Доля ОАО «ФГК» на Дальневосточной ж.д.              по РПС в 2014 году</vt:lpstr>
      <vt:lpstr>Контрейлерные перевозки - новый продукт                                                    на операторском рынке России</vt:lpstr>
      <vt:lpstr>Контрейлерные перевозки - новый продукт                                                    на операторском рынке России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Матвеева Мария Сергеевна</dc:creator>
  <cp:lastModifiedBy>Николаева Татьяна Юрьевна</cp:lastModifiedBy>
  <cp:revision>343</cp:revision>
  <cp:lastPrinted>2014-04-21T22:55:26Z</cp:lastPrinted>
  <dcterms:created xsi:type="dcterms:W3CDTF">2012-11-21T11:06:20Z</dcterms:created>
  <dcterms:modified xsi:type="dcterms:W3CDTF">2014-04-22T00:56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7EC6D307296894FB09261CF3B4EBFBC</vt:lpwstr>
  </property>
</Properties>
</file>